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0.xml" ContentType="application/vnd.openxmlformats-officedocument.presentationml.tags+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1.xml" ContentType="application/vnd.openxmlformats-officedocument.presentationml.tags+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2.xml" ContentType="application/vnd.openxmlformats-officedocument.presentationml.tags+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3.xml" ContentType="application/vnd.openxmlformats-officedocument.presentationml.tags+xml"/>
  <Override PartName="/ppt/notesSlides/notesSlide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1" r:id="rId20"/>
    <p:sldMasterId id="2147483858" r:id="rId21"/>
    <p:sldMasterId id="2147483904" r:id="rId22"/>
  </p:sldMasterIdLst>
  <p:notesMasterIdLst>
    <p:notesMasterId r:id="rId33"/>
  </p:notesMasterIdLst>
  <p:sldIdLst>
    <p:sldId id="2103813174" r:id="rId23"/>
    <p:sldId id="2145705856" r:id="rId24"/>
    <p:sldId id="262" r:id="rId25"/>
    <p:sldId id="2145705860" r:id="rId26"/>
    <p:sldId id="2145705859" r:id="rId27"/>
    <p:sldId id="2145705857" r:id="rId28"/>
    <p:sldId id="263" r:id="rId29"/>
    <p:sldId id="1344" r:id="rId30"/>
    <p:sldId id="529" r:id="rId31"/>
    <p:sldId id="274" r:id="rId32"/>
  </p:sldIdLst>
  <p:sldSz cx="12192000" cy="6858000"/>
  <p:notesSz cx="6858000" cy="9144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7" d="100"/>
          <a:sy n="77" d="100"/>
        </p:scale>
        <p:origin x="22"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4.xml"/><Relationship Id="rId21" Type="http://schemas.openxmlformats.org/officeDocument/2006/relationships/slideMaster" Target="slideMasters/slideMaster2.xml"/><Relationship Id="rId34" Type="http://schemas.openxmlformats.org/officeDocument/2006/relationships/tags" Target="tags/tag1.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3.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slideMaster" Target="slideMasters/slideMaster1.xml"/><Relationship Id="rId29" Type="http://schemas.openxmlformats.org/officeDocument/2006/relationships/slide" Target="slides/slide7.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viewProps" Target="viewProps.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slide" Target="slides/slide9.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Master" Target="slideMasters/slideMaster3.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presProps" Target="presProps.xml"/><Relationship Id="rId8" Type="http://schemas.openxmlformats.org/officeDocument/2006/relationships/customXml" Target="../customXml/item8.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E1DF0C-A459-49AA-8F8D-34E69D8DBE3E}" type="doc">
      <dgm:prSet loTypeId="urn:microsoft.com/office/officeart/2005/8/layout/process1" loCatId="process" qsTypeId="urn:microsoft.com/office/officeart/2005/8/quickstyle/simple2" qsCatId="simple" csTypeId="urn:microsoft.com/office/officeart/2005/8/colors/accent0_1" csCatId="mainScheme" phldr="1"/>
      <dgm:spPr/>
      <dgm:t>
        <a:bodyPr/>
        <a:lstStyle/>
        <a:p>
          <a:endParaRPr lang="en-US"/>
        </a:p>
      </dgm:t>
    </dgm:pt>
    <dgm:pt modelId="{4F0888B7-6164-46C9-BE0B-0C1EFBA5A6EA}">
      <dgm:prSet custT="1"/>
      <dgm:spPr/>
      <dgm:t>
        <a:bodyPr/>
        <a:lstStyle/>
        <a:p>
          <a:r>
            <a:rPr lang="en-US" sz="3200" dirty="0"/>
            <a:t>Activate Azure SQL Performance Tuning and Optimization offering is intended to educate customers how to optimize their Azure SQL VM performance configurations. The program is designed to educate, to discuss customer needs and test the new features.</a:t>
          </a:r>
        </a:p>
        <a:p>
          <a:r>
            <a:rPr lang="en-US" sz="3200" dirty="0"/>
            <a:t>This service is not only for DBAs, but also every role that could take advantage of this Activate would participate of this delivery.</a:t>
          </a:r>
        </a:p>
      </dgm:t>
    </dgm:pt>
    <dgm:pt modelId="{FE218177-9FD4-4A67-AFC9-BBC2A346526B}" type="parTrans" cxnId="{EF1FE780-8FD5-43DF-A07D-CF370F96DD84}">
      <dgm:prSet/>
      <dgm:spPr/>
      <dgm:t>
        <a:bodyPr/>
        <a:lstStyle/>
        <a:p>
          <a:endParaRPr lang="en-US"/>
        </a:p>
      </dgm:t>
    </dgm:pt>
    <dgm:pt modelId="{175808E8-40EF-4FCA-99CA-196CA604E703}" type="sibTrans" cxnId="{EF1FE780-8FD5-43DF-A07D-CF370F96DD84}">
      <dgm:prSet/>
      <dgm:spPr/>
      <dgm:t>
        <a:bodyPr/>
        <a:lstStyle/>
        <a:p>
          <a:endParaRPr lang="en-US"/>
        </a:p>
      </dgm:t>
    </dgm:pt>
    <dgm:pt modelId="{B0C41503-1F21-44C2-A6BB-59F60D10E2D9}" type="pres">
      <dgm:prSet presAssocID="{01E1DF0C-A459-49AA-8F8D-34E69D8DBE3E}" presName="Name0" presStyleCnt="0">
        <dgm:presLayoutVars>
          <dgm:dir/>
          <dgm:resizeHandles val="exact"/>
        </dgm:presLayoutVars>
      </dgm:prSet>
      <dgm:spPr/>
    </dgm:pt>
    <dgm:pt modelId="{EBD5B2BB-D1B9-432B-BB75-D6F1EA79270D}" type="pres">
      <dgm:prSet presAssocID="{4F0888B7-6164-46C9-BE0B-0C1EFBA5A6EA}" presName="node" presStyleLbl="node1" presStyleIdx="0" presStyleCnt="1">
        <dgm:presLayoutVars>
          <dgm:bulletEnabled val="1"/>
        </dgm:presLayoutVars>
      </dgm:prSet>
      <dgm:spPr/>
    </dgm:pt>
  </dgm:ptLst>
  <dgm:cxnLst>
    <dgm:cxn modelId="{6ED9CE76-D25E-421F-9CBC-8D2FB9F5C1DF}" type="presOf" srcId="{01E1DF0C-A459-49AA-8F8D-34E69D8DBE3E}" destId="{B0C41503-1F21-44C2-A6BB-59F60D10E2D9}" srcOrd="0" destOrd="0" presId="urn:microsoft.com/office/officeart/2005/8/layout/process1"/>
    <dgm:cxn modelId="{EF1FE780-8FD5-43DF-A07D-CF370F96DD84}" srcId="{01E1DF0C-A459-49AA-8F8D-34E69D8DBE3E}" destId="{4F0888B7-6164-46C9-BE0B-0C1EFBA5A6EA}" srcOrd="0" destOrd="0" parTransId="{FE218177-9FD4-4A67-AFC9-BBC2A346526B}" sibTransId="{175808E8-40EF-4FCA-99CA-196CA604E703}"/>
    <dgm:cxn modelId="{B43085BC-56C5-4199-A2B8-7613E1EE1238}" type="presOf" srcId="{4F0888B7-6164-46C9-BE0B-0C1EFBA5A6EA}" destId="{EBD5B2BB-D1B9-432B-BB75-D6F1EA79270D}" srcOrd="0" destOrd="0" presId="urn:microsoft.com/office/officeart/2005/8/layout/process1"/>
    <dgm:cxn modelId="{1F336154-415F-463D-B065-2709176C7780}" type="presParOf" srcId="{B0C41503-1F21-44C2-A6BB-59F60D10E2D9}" destId="{EBD5B2BB-D1B9-432B-BB75-D6F1EA79270D}" srcOrd="0" destOrd="0" presId="urn:microsoft.com/office/officeart/2005/8/layout/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E1DF0C-A459-49AA-8F8D-34E69D8DBE3E}" type="doc">
      <dgm:prSet loTypeId="urn:microsoft.com/office/officeart/2005/8/layout/hProcess9" loCatId="process" qsTypeId="urn:microsoft.com/office/officeart/2005/8/quickstyle/simple2" qsCatId="simple" csTypeId="urn:microsoft.com/office/officeart/2005/8/colors/colorful3" csCatId="colorful" phldr="1"/>
      <dgm:spPr/>
      <dgm:t>
        <a:bodyPr/>
        <a:lstStyle/>
        <a:p>
          <a:endParaRPr lang="en-US"/>
        </a:p>
      </dgm:t>
    </dgm:pt>
    <dgm:pt modelId="{4F0888B7-6164-46C9-BE0B-0C1EFBA5A6EA}">
      <dgm:prSet custT="1"/>
      <dgm:spPr/>
      <dgm:t>
        <a:bodyPr/>
        <a:lstStyle/>
        <a:p>
          <a:r>
            <a:rPr lang="en-US" sz="2000" dirty="0"/>
            <a:t>Scoping Call</a:t>
          </a:r>
        </a:p>
      </dgm:t>
    </dgm:pt>
    <dgm:pt modelId="{FE218177-9FD4-4A67-AFC9-BBC2A346526B}" type="parTrans" cxnId="{EF1FE780-8FD5-43DF-A07D-CF370F96DD84}">
      <dgm:prSet/>
      <dgm:spPr/>
      <dgm:t>
        <a:bodyPr/>
        <a:lstStyle/>
        <a:p>
          <a:endParaRPr lang="en-US"/>
        </a:p>
      </dgm:t>
    </dgm:pt>
    <dgm:pt modelId="{175808E8-40EF-4FCA-99CA-196CA604E703}" type="sibTrans" cxnId="{EF1FE780-8FD5-43DF-A07D-CF370F96DD84}">
      <dgm:prSet/>
      <dgm:spPr/>
      <dgm:t>
        <a:bodyPr/>
        <a:lstStyle/>
        <a:p>
          <a:endParaRPr lang="en-US"/>
        </a:p>
      </dgm:t>
    </dgm:pt>
    <dgm:pt modelId="{0B90BCC1-194A-4250-9911-A57CDD4E70E4}">
      <dgm:prSet custT="1"/>
      <dgm:spPr/>
      <dgm:t>
        <a:bodyPr/>
        <a:lstStyle/>
        <a:p>
          <a:pPr>
            <a:buFont typeface="Symbol" panose="05050102010706020507" pitchFamily="18" charset="2"/>
            <a:buChar char=""/>
          </a:pPr>
          <a:r>
            <a:rPr lang="en-US" sz="2000" dirty="0"/>
            <a:t>Educate</a:t>
          </a:r>
        </a:p>
      </dgm:t>
    </dgm:pt>
    <dgm:pt modelId="{F5C6089D-8504-4696-BDC2-A63E9102B3AB}" type="parTrans" cxnId="{8AF867B5-4403-4E81-A913-CFECDC953E50}">
      <dgm:prSet/>
      <dgm:spPr/>
      <dgm:t>
        <a:bodyPr/>
        <a:lstStyle/>
        <a:p>
          <a:endParaRPr lang="en-US"/>
        </a:p>
      </dgm:t>
    </dgm:pt>
    <dgm:pt modelId="{093585D2-E381-4419-987B-3834C48106E5}" type="sibTrans" cxnId="{8AF867B5-4403-4E81-A913-CFECDC953E50}">
      <dgm:prSet/>
      <dgm:spPr/>
      <dgm:t>
        <a:bodyPr/>
        <a:lstStyle/>
        <a:p>
          <a:endParaRPr lang="en-US"/>
        </a:p>
      </dgm:t>
    </dgm:pt>
    <dgm:pt modelId="{8AB5723B-6D50-4905-BF2E-16430DFD9973}">
      <dgm:prSet custT="1"/>
      <dgm:spPr/>
      <dgm:t>
        <a:bodyPr/>
        <a:lstStyle/>
        <a:p>
          <a:pPr>
            <a:buFont typeface="Symbol" panose="05050102010706020507" pitchFamily="18" charset="2"/>
            <a:buChar char=""/>
          </a:pPr>
          <a:r>
            <a:rPr lang="en-US" sz="2000" dirty="0"/>
            <a:t>Proof of Concept to implement performance features in Azure SQL VM </a:t>
          </a:r>
        </a:p>
      </dgm:t>
    </dgm:pt>
    <dgm:pt modelId="{EB04BD74-EC64-41BA-A833-ACB576FE0A04}" type="parTrans" cxnId="{90D08E8F-33AC-4A1E-B6BA-4BA773FC263F}">
      <dgm:prSet/>
      <dgm:spPr/>
      <dgm:t>
        <a:bodyPr/>
        <a:lstStyle/>
        <a:p>
          <a:endParaRPr lang="en-US"/>
        </a:p>
      </dgm:t>
    </dgm:pt>
    <dgm:pt modelId="{C2DD5FB6-1C5A-4309-9CEC-EF66A4EB8230}" type="sibTrans" cxnId="{90D08E8F-33AC-4A1E-B6BA-4BA773FC263F}">
      <dgm:prSet/>
      <dgm:spPr/>
      <dgm:t>
        <a:bodyPr/>
        <a:lstStyle/>
        <a:p>
          <a:endParaRPr lang="en-US"/>
        </a:p>
      </dgm:t>
    </dgm:pt>
    <dgm:pt modelId="{6999884A-0959-4BBE-888D-B1D854434E67}">
      <dgm:prSet custT="1"/>
      <dgm:spPr/>
      <dgm:t>
        <a:bodyPr/>
        <a:lstStyle/>
        <a:p>
          <a:pPr>
            <a:buFont typeface="Symbol" panose="05050102010706020507" pitchFamily="18" charset="2"/>
            <a:buChar char=""/>
          </a:pPr>
          <a:r>
            <a:rPr lang="en-US" sz="2000" dirty="0"/>
            <a:t>Close out </a:t>
          </a:r>
        </a:p>
      </dgm:t>
    </dgm:pt>
    <dgm:pt modelId="{89BAAD3A-D819-4415-BA06-470C4AC5CC87}" type="parTrans" cxnId="{D9F9E138-310B-4FCE-840E-4BD3D5BE7930}">
      <dgm:prSet/>
      <dgm:spPr/>
      <dgm:t>
        <a:bodyPr/>
        <a:lstStyle/>
        <a:p>
          <a:endParaRPr lang="en-US"/>
        </a:p>
      </dgm:t>
    </dgm:pt>
    <dgm:pt modelId="{E3782E71-CC66-46E6-B9EE-E374A41B73A4}" type="sibTrans" cxnId="{D9F9E138-310B-4FCE-840E-4BD3D5BE7930}">
      <dgm:prSet/>
      <dgm:spPr/>
      <dgm:t>
        <a:bodyPr/>
        <a:lstStyle/>
        <a:p>
          <a:endParaRPr lang="en-US"/>
        </a:p>
      </dgm:t>
    </dgm:pt>
    <dgm:pt modelId="{1D11C6AB-D334-44E6-837C-B5D16A0C14C8}" type="pres">
      <dgm:prSet presAssocID="{01E1DF0C-A459-49AA-8F8D-34E69D8DBE3E}" presName="CompostProcess" presStyleCnt="0">
        <dgm:presLayoutVars>
          <dgm:dir/>
          <dgm:resizeHandles val="exact"/>
        </dgm:presLayoutVars>
      </dgm:prSet>
      <dgm:spPr/>
    </dgm:pt>
    <dgm:pt modelId="{B69382FA-867C-49B2-8B99-FBE01CC5062F}" type="pres">
      <dgm:prSet presAssocID="{01E1DF0C-A459-49AA-8F8D-34E69D8DBE3E}" presName="arrow" presStyleLbl="bgShp" presStyleIdx="0" presStyleCnt="1"/>
      <dgm:spPr/>
    </dgm:pt>
    <dgm:pt modelId="{31B78E02-948A-4B5B-BAD1-7CFADB607271}" type="pres">
      <dgm:prSet presAssocID="{01E1DF0C-A459-49AA-8F8D-34E69D8DBE3E}" presName="linearProcess" presStyleCnt="0"/>
      <dgm:spPr/>
    </dgm:pt>
    <dgm:pt modelId="{DE9119F8-8490-44E1-9092-BDE3695E8184}" type="pres">
      <dgm:prSet presAssocID="{4F0888B7-6164-46C9-BE0B-0C1EFBA5A6EA}" presName="textNode" presStyleLbl="node1" presStyleIdx="0" presStyleCnt="4">
        <dgm:presLayoutVars>
          <dgm:bulletEnabled val="1"/>
        </dgm:presLayoutVars>
      </dgm:prSet>
      <dgm:spPr/>
    </dgm:pt>
    <dgm:pt modelId="{E0AA6D7E-4B56-45BF-9D9C-47C4A48816E9}" type="pres">
      <dgm:prSet presAssocID="{175808E8-40EF-4FCA-99CA-196CA604E703}" presName="sibTrans" presStyleCnt="0"/>
      <dgm:spPr/>
    </dgm:pt>
    <dgm:pt modelId="{8F7B5E93-38AD-4633-AF20-A6D1EA35D330}" type="pres">
      <dgm:prSet presAssocID="{0B90BCC1-194A-4250-9911-A57CDD4E70E4}" presName="textNode" presStyleLbl="node1" presStyleIdx="1" presStyleCnt="4">
        <dgm:presLayoutVars>
          <dgm:bulletEnabled val="1"/>
        </dgm:presLayoutVars>
      </dgm:prSet>
      <dgm:spPr/>
    </dgm:pt>
    <dgm:pt modelId="{0B057F66-0828-454B-904D-E054B0021964}" type="pres">
      <dgm:prSet presAssocID="{093585D2-E381-4419-987B-3834C48106E5}" presName="sibTrans" presStyleCnt="0"/>
      <dgm:spPr/>
    </dgm:pt>
    <dgm:pt modelId="{F17E8BF9-3628-4C58-8665-4CFBDA0CB6A4}" type="pres">
      <dgm:prSet presAssocID="{8AB5723B-6D50-4905-BF2E-16430DFD9973}" presName="textNode" presStyleLbl="node1" presStyleIdx="2" presStyleCnt="4">
        <dgm:presLayoutVars>
          <dgm:bulletEnabled val="1"/>
        </dgm:presLayoutVars>
      </dgm:prSet>
      <dgm:spPr/>
    </dgm:pt>
    <dgm:pt modelId="{F9B381C6-0314-4091-AB40-8923A2601D4C}" type="pres">
      <dgm:prSet presAssocID="{C2DD5FB6-1C5A-4309-9CEC-EF66A4EB8230}" presName="sibTrans" presStyleCnt="0"/>
      <dgm:spPr/>
    </dgm:pt>
    <dgm:pt modelId="{EA939354-CC87-4692-B403-39F625A4153E}" type="pres">
      <dgm:prSet presAssocID="{6999884A-0959-4BBE-888D-B1D854434E67}" presName="textNode" presStyleLbl="node1" presStyleIdx="3" presStyleCnt="4">
        <dgm:presLayoutVars>
          <dgm:bulletEnabled val="1"/>
        </dgm:presLayoutVars>
      </dgm:prSet>
      <dgm:spPr/>
    </dgm:pt>
  </dgm:ptLst>
  <dgm:cxnLst>
    <dgm:cxn modelId="{D1D6FA1C-7AFB-45E6-ABDB-133C7EC34244}" type="presOf" srcId="{4F0888B7-6164-46C9-BE0B-0C1EFBA5A6EA}" destId="{DE9119F8-8490-44E1-9092-BDE3695E8184}" srcOrd="0" destOrd="0" presId="urn:microsoft.com/office/officeart/2005/8/layout/hProcess9"/>
    <dgm:cxn modelId="{660E8734-2CE4-4B83-A6C3-3D7655564690}" type="presOf" srcId="{01E1DF0C-A459-49AA-8F8D-34E69D8DBE3E}" destId="{1D11C6AB-D334-44E6-837C-B5D16A0C14C8}" srcOrd="0" destOrd="0" presId="urn:microsoft.com/office/officeart/2005/8/layout/hProcess9"/>
    <dgm:cxn modelId="{D9F9E138-310B-4FCE-840E-4BD3D5BE7930}" srcId="{01E1DF0C-A459-49AA-8F8D-34E69D8DBE3E}" destId="{6999884A-0959-4BBE-888D-B1D854434E67}" srcOrd="3" destOrd="0" parTransId="{89BAAD3A-D819-4415-BA06-470C4AC5CC87}" sibTransId="{E3782E71-CC66-46E6-B9EE-E374A41B73A4}"/>
    <dgm:cxn modelId="{48394363-8B0C-4C85-B36B-0EB79AF47798}" type="presOf" srcId="{0B90BCC1-194A-4250-9911-A57CDD4E70E4}" destId="{8F7B5E93-38AD-4633-AF20-A6D1EA35D330}" srcOrd="0" destOrd="0" presId="urn:microsoft.com/office/officeart/2005/8/layout/hProcess9"/>
    <dgm:cxn modelId="{EF1FE780-8FD5-43DF-A07D-CF370F96DD84}" srcId="{01E1DF0C-A459-49AA-8F8D-34E69D8DBE3E}" destId="{4F0888B7-6164-46C9-BE0B-0C1EFBA5A6EA}" srcOrd="0" destOrd="0" parTransId="{FE218177-9FD4-4A67-AFC9-BBC2A346526B}" sibTransId="{175808E8-40EF-4FCA-99CA-196CA604E703}"/>
    <dgm:cxn modelId="{90D08E8F-33AC-4A1E-B6BA-4BA773FC263F}" srcId="{01E1DF0C-A459-49AA-8F8D-34E69D8DBE3E}" destId="{8AB5723B-6D50-4905-BF2E-16430DFD9973}" srcOrd="2" destOrd="0" parTransId="{EB04BD74-EC64-41BA-A833-ACB576FE0A04}" sibTransId="{C2DD5FB6-1C5A-4309-9CEC-EF66A4EB8230}"/>
    <dgm:cxn modelId="{B01E8E91-3EDB-4AFB-943A-BCD8F120BA89}" type="presOf" srcId="{8AB5723B-6D50-4905-BF2E-16430DFD9973}" destId="{F17E8BF9-3628-4C58-8665-4CFBDA0CB6A4}" srcOrd="0" destOrd="0" presId="urn:microsoft.com/office/officeart/2005/8/layout/hProcess9"/>
    <dgm:cxn modelId="{7E21819C-CD07-4465-B84D-7FA66CF771F5}" type="presOf" srcId="{6999884A-0959-4BBE-888D-B1D854434E67}" destId="{EA939354-CC87-4692-B403-39F625A4153E}" srcOrd="0" destOrd="0" presId="urn:microsoft.com/office/officeart/2005/8/layout/hProcess9"/>
    <dgm:cxn modelId="{8AF867B5-4403-4E81-A913-CFECDC953E50}" srcId="{01E1DF0C-A459-49AA-8F8D-34E69D8DBE3E}" destId="{0B90BCC1-194A-4250-9911-A57CDD4E70E4}" srcOrd="1" destOrd="0" parTransId="{F5C6089D-8504-4696-BDC2-A63E9102B3AB}" sibTransId="{093585D2-E381-4419-987B-3834C48106E5}"/>
    <dgm:cxn modelId="{3F5BB5D5-3087-4C92-A1F4-915C3C7BB6F1}" type="presParOf" srcId="{1D11C6AB-D334-44E6-837C-B5D16A0C14C8}" destId="{B69382FA-867C-49B2-8B99-FBE01CC5062F}" srcOrd="0" destOrd="0" presId="urn:microsoft.com/office/officeart/2005/8/layout/hProcess9"/>
    <dgm:cxn modelId="{39516609-2136-4B71-A18B-978A3D934CCB}" type="presParOf" srcId="{1D11C6AB-D334-44E6-837C-B5D16A0C14C8}" destId="{31B78E02-948A-4B5B-BAD1-7CFADB607271}" srcOrd="1" destOrd="0" presId="urn:microsoft.com/office/officeart/2005/8/layout/hProcess9"/>
    <dgm:cxn modelId="{9F862E6A-6B81-4849-98D0-F212AF8DDFFB}" type="presParOf" srcId="{31B78E02-948A-4B5B-BAD1-7CFADB607271}" destId="{DE9119F8-8490-44E1-9092-BDE3695E8184}" srcOrd="0" destOrd="0" presId="urn:microsoft.com/office/officeart/2005/8/layout/hProcess9"/>
    <dgm:cxn modelId="{B8CDB891-CE23-491F-B18F-DC0943CA808F}" type="presParOf" srcId="{31B78E02-948A-4B5B-BAD1-7CFADB607271}" destId="{E0AA6D7E-4B56-45BF-9D9C-47C4A48816E9}" srcOrd="1" destOrd="0" presId="urn:microsoft.com/office/officeart/2005/8/layout/hProcess9"/>
    <dgm:cxn modelId="{7ED85F95-5E27-4499-8B29-4CF9897B964C}" type="presParOf" srcId="{31B78E02-948A-4B5B-BAD1-7CFADB607271}" destId="{8F7B5E93-38AD-4633-AF20-A6D1EA35D330}" srcOrd="2" destOrd="0" presId="urn:microsoft.com/office/officeart/2005/8/layout/hProcess9"/>
    <dgm:cxn modelId="{73DA8327-C7F5-4797-B337-FADA1322D757}" type="presParOf" srcId="{31B78E02-948A-4B5B-BAD1-7CFADB607271}" destId="{0B057F66-0828-454B-904D-E054B0021964}" srcOrd="3" destOrd="0" presId="urn:microsoft.com/office/officeart/2005/8/layout/hProcess9"/>
    <dgm:cxn modelId="{FFD79A64-A9B1-4793-B69D-6FCD38C87B40}" type="presParOf" srcId="{31B78E02-948A-4B5B-BAD1-7CFADB607271}" destId="{F17E8BF9-3628-4C58-8665-4CFBDA0CB6A4}" srcOrd="4" destOrd="0" presId="urn:microsoft.com/office/officeart/2005/8/layout/hProcess9"/>
    <dgm:cxn modelId="{D300F800-569C-497E-82F2-E21AAE775424}" type="presParOf" srcId="{31B78E02-948A-4B5B-BAD1-7CFADB607271}" destId="{F9B381C6-0314-4091-AB40-8923A2601D4C}" srcOrd="5" destOrd="0" presId="urn:microsoft.com/office/officeart/2005/8/layout/hProcess9"/>
    <dgm:cxn modelId="{F9591B62-0CBE-4317-A291-9EDAA6443C39}" type="presParOf" srcId="{31B78E02-948A-4B5B-BAD1-7CFADB607271}" destId="{EA939354-CC87-4692-B403-39F625A4153E}" srcOrd="6" destOrd="0" presId="urn:microsoft.com/office/officeart/2005/8/layout/hProcess9"/>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E1DF0C-A459-49AA-8F8D-34E69D8DBE3E}" type="doc">
      <dgm:prSet loTypeId="urn:microsoft.com/office/officeart/2005/8/layout/process4" loCatId="process" qsTypeId="urn:microsoft.com/office/officeart/2005/8/quickstyle/simple2" qsCatId="simple" csTypeId="urn:microsoft.com/office/officeart/2005/8/colors/colorful2" csCatId="colorful" phldr="1"/>
      <dgm:spPr/>
      <dgm:t>
        <a:bodyPr/>
        <a:lstStyle/>
        <a:p>
          <a:endParaRPr lang="en-US"/>
        </a:p>
      </dgm:t>
    </dgm:pt>
    <dgm:pt modelId="{4F0888B7-6164-46C9-BE0B-0C1EFBA5A6EA}">
      <dgm:prSet custT="1"/>
      <dgm:spPr/>
      <dgm:t>
        <a:bodyPr/>
        <a:lstStyle/>
        <a:p>
          <a:r>
            <a:rPr lang="en-US" sz="2000" dirty="0"/>
            <a:t>What are the days and times for the engagement? </a:t>
          </a:r>
        </a:p>
        <a:p>
          <a:r>
            <a:rPr lang="en-US" sz="2000" dirty="0"/>
            <a:t>(Can be 3 or 4 days)</a:t>
          </a:r>
        </a:p>
      </dgm:t>
    </dgm:pt>
    <dgm:pt modelId="{FE218177-9FD4-4A67-AFC9-BBC2A346526B}" type="parTrans" cxnId="{EF1FE780-8FD5-43DF-A07D-CF370F96DD84}">
      <dgm:prSet/>
      <dgm:spPr/>
      <dgm:t>
        <a:bodyPr/>
        <a:lstStyle/>
        <a:p>
          <a:endParaRPr lang="en-US"/>
        </a:p>
      </dgm:t>
    </dgm:pt>
    <dgm:pt modelId="{175808E8-40EF-4FCA-99CA-196CA604E703}" type="sibTrans" cxnId="{EF1FE780-8FD5-43DF-A07D-CF370F96DD84}">
      <dgm:prSet/>
      <dgm:spPr/>
      <dgm:t>
        <a:bodyPr/>
        <a:lstStyle/>
        <a:p>
          <a:endParaRPr lang="en-US"/>
        </a:p>
      </dgm:t>
    </dgm:pt>
    <dgm:pt modelId="{C8F03178-3C11-4E6D-803B-598F61C5DC07}">
      <dgm:prSet custT="1"/>
      <dgm:spPr/>
      <dgm:t>
        <a:bodyPr/>
        <a:lstStyle/>
        <a:p>
          <a:r>
            <a:rPr lang="en-US" sz="2000" dirty="0"/>
            <a:t>What is the goal for this engagement?</a:t>
          </a:r>
        </a:p>
      </dgm:t>
    </dgm:pt>
    <dgm:pt modelId="{F41FAA70-1D29-4416-87C5-B1CB6A87C3A0}" type="parTrans" cxnId="{013B7B35-FD6F-426B-8F42-932F753A7A61}">
      <dgm:prSet/>
      <dgm:spPr/>
      <dgm:t>
        <a:bodyPr/>
        <a:lstStyle/>
        <a:p>
          <a:endParaRPr lang="en-US"/>
        </a:p>
      </dgm:t>
    </dgm:pt>
    <dgm:pt modelId="{8EF31292-85CD-4774-AC18-6A0CEC782DD2}" type="sibTrans" cxnId="{013B7B35-FD6F-426B-8F42-932F753A7A61}">
      <dgm:prSet/>
      <dgm:spPr/>
      <dgm:t>
        <a:bodyPr/>
        <a:lstStyle/>
        <a:p>
          <a:endParaRPr lang="en-US"/>
        </a:p>
      </dgm:t>
    </dgm:pt>
    <dgm:pt modelId="{9FC3E942-931B-4CF7-8F4F-5E109DC4035F}">
      <dgm:prSet custT="1"/>
      <dgm:spPr/>
      <dgm:t>
        <a:bodyPr/>
        <a:lstStyle/>
        <a:p>
          <a:r>
            <a:rPr lang="en-US" sz="2000" dirty="0"/>
            <a:t>Is there a current Azure SQL Environment?</a:t>
          </a:r>
        </a:p>
      </dgm:t>
    </dgm:pt>
    <dgm:pt modelId="{C4C780ED-804F-4068-B1B1-ABD460ABDDF0}" type="parTrans" cxnId="{F5C92920-5878-4815-884C-BC0BC3AD166C}">
      <dgm:prSet/>
      <dgm:spPr/>
      <dgm:t>
        <a:bodyPr/>
        <a:lstStyle/>
        <a:p>
          <a:endParaRPr lang="en-US"/>
        </a:p>
      </dgm:t>
    </dgm:pt>
    <dgm:pt modelId="{8C0A462E-03D5-434C-9A3D-7C59082DCF3C}" type="sibTrans" cxnId="{F5C92920-5878-4815-884C-BC0BC3AD166C}">
      <dgm:prSet/>
      <dgm:spPr/>
      <dgm:t>
        <a:bodyPr/>
        <a:lstStyle/>
        <a:p>
          <a:endParaRPr lang="en-US"/>
        </a:p>
      </dgm:t>
    </dgm:pt>
    <dgm:pt modelId="{236379AD-E10B-415A-BA44-3DD65F7E61F9}">
      <dgm:prSet custT="1"/>
      <dgm:spPr/>
      <dgm:t>
        <a:bodyPr/>
        <a:lstStyle/>
        <a:p>
          <a:r>
            <a:rPr lang="en-US" sz="2000" dirty="0"/>
            <a:t>Azure SQL DB</a:t>
          </a:r>
        </a:p>
      </dgm:t>
    </dgm:pt>
    <dgm:pt modelId="{D6BD8B49-76F0-414D-8522-C7BFAFF86D3F}" type="parTrans" cxnId="{01E216B2-CAC5-4651-8C0F-84DDF2E10BAF}">
      <dgm:prSet/>
      <dgm:spPr/>
      <dgm:t>
        <a:bodyPr/>
        <a:lstStyle/>
        <a:p>
          <a:endParaRPr lang="en-US"/>
        </a:p>
      </dgm:t>
    </dgm:pt>
    <dgm:pt modelId="{99BFFB64-42C4-44DD-B1B4-0EDD04F1C817}" type="sibTrans" cxnId="{01E216B2-CAC5-4651-8C0F-84DDF2E10BAF}">
      <dgm:prSet/>
      <dgm:spPr/>
      <dgm:t>
        <a:bodyPr/>
        <a:lstStyle/>
        <a:p>
          <a:endParaRPr lang="en-US"/>
        </a:p>
      </dgm:t>
    </dgm:pt>
    <dgm:pt modelId="{BD1440E7-39DB-4606-9DB7-E00AD01956C3}">
      <dgm:prSet custT="1"/>
      <dgm:spPr/>
      <dgm:t>
        <a:bodyPr/>
        <a:lstStyle/>
        <a:p>
          <a:r>
            <a:rPr lang="en-US" sz="2000" dirty="0"/>
            <a:t>Azure SQL VM</a:t>
          </a:r>
        </a:p>
      </dgm:t>
    </dgm:pt>
    <dgm:pt modelId="{7F8726EF-A2D1-47DF-B882-4C4E50B862D3}" type="parTrans" cxnId="{5E804F59-0089-452E-8B78-98C0D274D1F1}">
      <dgm:prSet/>
      <dgm:spPr/>
      <dgm:t>
        <a:bodyPr/>
        <a:lstStyle/>
        <a:p>
          <a:endParaRPr lang="en-US"/>
        </a:p>
      </dgm:t>
    </dgm:pt>
    <dgm:pt modelId="{EF3F3FBF-4E04-4AFA-9BDD-D9EA2F25EAE9}" type="sibTrans" cxnId="{5E804F59-0089-452E-8B78-98C0D274D1F1}">
      <dgm:prSet/>
      <dgm:spPr/>
      <dgm:t>
        <a:bodyPr/>
        <a:lstStyle/>
        <a:p>
          <a:endParaRPr lang="en-US"/>
        </a:p>
      </dgm:t>
    </dgm:pt>
    <dgm:pt modelId="{3CDDAFC6-FEC2-469E-B013-7503BFD2AEA7}">
      <dgm:prSet custT="1"/>
      <dgm:spPr/>
      <dgm:t>
        <a:bodyPr/>
        <a:lstStyle/>
        <a:p>
          <a:r>
            <a:rPr lang="en-US" sz="2000" dirty="0"/>
            <a:t>Azure SQL MI</a:t>
          </a:r>
        </a:p>
      </dgm:t>
    </dgm:pt>
    <dgm:pt modelId="{CBD8A7FE-66CA-4C96-9432-5F66E3B5A9C1}" type="parTrans" cxnId="{67CF1909-7F7B-410A-B840-99EC276C533B}">
      <dgm:prSet/>
      <dgm:spPr/>
      <dgm:t>
        <a:bodyPr/>
        <a:lstStyle/>
        <a:p>
          <a:endParaRPr lang="en-US"/>
        </a:p>
      </dgm:t>
    </dgm:pt>
    <dgm:pt modelId="{3840EE81-6204-46D6-AAF2-2F5B42C15AE4}" type="sibTrans" cxnId="{67CF1909-7F7B-410A-B840-99EC276C533B}">
      <dgm:prSet/>
      <dgm:spPr/>
      <dgm:t>
        <a:bodyPr/>
        <a:lstStyle/>
        <a:p>
          <a:endParaRPr lang="en-US"/>
        </a:p>
      </dgm:t>
    </dgm:pt>
    <dgm:pt modelId="{7443D1D1-2B61-4BE5-BCF6-12CE1C2F18D2}" type="pres">
      <dgm:prSet presAssocID="{01E1DF0C-A459-49AA-8F8D-34E69D8DBE3E}" presName="Name0" presStyleCnt="0">
        <dgm:presLayoutVars>
          <dgm:dir/>
          <dgm:animLvl val="lvl"/>
          <dgm:resizeHandles val="exact"/>
        </dgm:presLayoutVars>
      </dgm:prSet>
      <dgm:spPr/>
    </dgm:pt>
    <dgm:pt modelId="{7A4AC23D-AB50-4164-B94D-229B23FF564A}" type="pres">
      <dgm:prSet presAssocID="{9FC3E942-931B-4CF7-8F4F-5E109DC4035F}" presName="boxAndChildren" presStyleCnt="0"/>
      <dgm:spPr/>
    </dgm:pt>
    <dgm:pt modelId="{CEB8DD39-4EE1-4294-99BA-594521314BCE}" type="pres">
      <dgm:prSet presAssocID="{9FC3E942-931B-4CF7-8F4F-5E109DC4035F}" presName="parentTextBox" presStyleLbl="node1" presStyleIdx="0" presStyleCnt="3"/>
      <dgm:spPr/>
    </dgm:pt>
    <dgm:pt modelId="{C6857494-0E01-4108-B101-F9574C10AA28}" type="pres">
      <dgm:prSet presAssocID="{9FC3E942-931B-4CF7-8F4F-5E109DC4035F}" presName="entireBox" presStyleLbl="node1" presStyleIdx="0" presStyleCnt="3"/>
      <dgm:spPr/>
    </dgm:pt>
    <dgm:pt modelId="{19724372-AAC2-453B-865D-16B3B57BD6E7}" type="pres">
      <dgm:prSet presAssocID="{9FC3E942-931B-4CF7-8F4F-5E109DC4035F}" presName="descendantBox" presStyleCnt="0"/>
      <dgm:spPr/>
    </dgm:pt>
    <dgm:pt modelId="{14EE995A-BC4B-4249-9951-503C0747F5EB}" type="pres">
      <dgm:prSet presAssocID="{236379AD-E10B-415A-BA44-3DD65F7E61F9}" presName="childTextBox" presStyleLbl="fgAccFollowNode1" presStyleIdx="0" presStyleCnt="3">
        <dgm:presLayoutVars>
          <dgm:bulletEnabled val="1"/>
        </dgm:presLayoutVars>
      </dgm:prSet>
      <dgm:spPr/>
    </dgm:pt>
    <dgm:pt modelId="{0F10AC2D-91AE-40CE-BFBA-8D3EE86DD453}" type="pres">
      <dgm:prSet presAssocID="{BD1440E7-39DB-4606-9DB7-E00AD01956C3}" presName="childTextBox" presStyleLbl="fgAccFollowNode1" presStyleIdx="1" presStyleCnt="3">
        <dgm:presLayoutVars>
          <dgm:bulletEnabled val="1"/>
        </dgm:presLayoutVars>
      </dgm:prSet>
      <dgm:spPr/>
    </dgm:pt>
    <dgm:pt modelId="{C94E8FB3-0215-4847-BF2A-34D026196DD9}" type="pres">
      <dgm:prSet presAssocID="{3CDDAFC6-FEC2-469E-B013-7503BFD2AEA7}" presName="childTextBox" presStyleLbl="fgAccFollowNode1" presStyleIdx="2" presStyleCnt="3">
        <dgm:presLayoutVars>
          <dgm:bulletEnabled val="1"/>
        </dgm:presLayoutVars>
      </dgm:prSet>
      <dgm:spPr/>
    </dgm:pt>
    <dgm:pt modelId="{4AE7D827-BBA9-4FC8-AB42-875ACCDFA6F2}" type="pres">
      <dgm:prSet presAssocID="{8EF31292-85CD-4774-AC18-6A0CEC782DD2}" presName="sp" presStyleCnt="0"/>
      <dgm:spPr/>
    </dgm:pt>
    <dgm:pt modelId="{C7E71000-7081-4C6B-8009-7AF7D03F6C25}" type="pres">
      <dgm:prSet presAssocID="{C8F03178-3C11-4E6D-803B-598F61C5DC07}" presName="arrowAndChildren" presStyleCnt="0"/>
      <dgm:spPr/>
    </dgm:pt>
    <dgm:pt modelId="{F508161A-EDA0-439D-B5EB-61E35B13299C}" type="pres">
      <dgm:prSet presAssocID="{C8F03178-3C11-4E6D-803B-598F61C5DC07}" presName="parentTextArrow" presStyleLbl="node1" presStyleIdx="1" presStyleCnt="3"/>
      <dgm:spPr/>
    </dgm:pt>
    <dgm:pt modelId="{965D26D5-A39E-4B6C-958B-E9491EFB3306}" type="pres">
      <dgm:prSet presAssocID="{175808E8-40EF-4FCA-99CA-196CA604E703}" presName="sp" presStyleCnt="0"/>
      <dgm:spPr/>
    </dgm:pt>
    <dgm:pt modelId="{F00DC1B6-684F-4A8B-86E1-5D3F6E4E73FE}" type="pres">
      <dgm:prSet presAssocID="{4F0888B7-6164-46C9-BE0B-0C1EFBA5A6EA}" presName="arrowAndChildren" presStyleCnt="0"/>
      <dgm:spPr/>
    </dgm:pt>
    <dgm:pt modelId="{E3226E4C-4029-4C60-A269-FBDB64755859}" type="pres">
      <dgm:prSet presAssocID="{4F0888B7-6164-46C9-BE0B-0C1EFBA5A6EA}" presName="parentTextArrow" presStyleLbl="node1" presStyleIdx="2" presStyleCnt="3"/>
      <dgm:spPr/>
    </dgm:pt>
  </dgm:ptLst>
  <dgm:cxnLst>
    <dgm:cxn modelId="{67CF1909-7F7B-410A-B840-99EC276C533B}" srcId="{9FC3E942-931B-4CF7-8F4F-5E109DC4035F}" destId="{3CDDAFC6-FEC2-469E-B013-7503BFD2AEA7}" srcOrd="2" destOrd="0" parTransId="{CBD8A7FE-66CA-4C96-9432-5F66E3B5A9C1}" sibTransId="{3840EE81-6204-46D6-AAF2-2F5B42C15AE4}"/>
    <dgm:cxn modelId="{A4BA7F0E-7F00-4031-AAF8-F184BEE47513}" type="presOf" srcId="{9FC3E942-931B-4CF7-8F4F-5E109DC4035F}" destId="{C6857494-0E01-4108-B101-F9574C10AA28}" srcOrd="1" destOrd="0" presId="urn:microsoft.com/office/officeart/2005/8/layout/process4"/>
    <dgm:cxn modelId="{F5C92920-5878-4815-884C-BC0BC3AD166C}" srcId="{01E1DF0C-A459-49AA-8F8D-34E69D8DBE3E}" destId="{9FC3E942-931B-4CF7-8F4F-5E109DC4035F}" srcOrd="2" destOrd="0" parTransId="{C4C780ED-804F-4068-B1B1-ABD460ABDDF0}" sibTransId="{8C0A462E-03D5-434C-9A3D-7C59082DCF3C}"/>
    <dgm:cxn modelId="{719DFC2A-8E9C-4816-98F7-876CCE7E5E1A}" type="presOf" srcId="{3CDDAFC6-FEC2-469E-B013-7503BFD2AEA7}" destId="{C94E8FB3-0215-4847-BF2A-34D026196DD9}" srcOrd="0" destOrd="0" presId="urn:microsoft.com/office/officeart/2005/8/layout/process4"/>
    <dgm:cxn modelId="{013B7B35-FD6F-426B-8F42-932F753A7A61}" srcId="{01E1DF0C-A459-49AA-8F8D-34E69D8DBE3E}" destId="{C8F03178-3C11-4E6D-803B-598F61C5DC07}" srcOrd="1" destOrd="0" parTransId="{F41FAA70-1D29-4416-87C5-B1CB6A87C3A0}" sibTransId="{8EF31292-85CD-4774-AC18-6A0CEC782DD2}"/>
    <dgm:cxn modelId="{E57FE44F-C958-4B66-AE38-6BFD3B4D27E2}" type="presOf" srcId="{9FC3E942-931B-4CF7-8F4F-5E109DC4035F}" destId="{CEB8DD39-4EE1-4294-99BA-594521314BCE}" srcOrd="0" destOrd="0" presId="urn:microsoft.com/office/officeart/2005/8/layout/process4"/>
    <dgm:cxn modelId="{9ECA6475-4AE7-4BD2-87B5-C9145CA33CDC}" type="presOf" srcId="{236379AD-E10B-415A-BA44-3DD65F7E61F9}" destId="{14EE995A-BC4B-4249-9951-503C0747F5EB}" srcOrd="0" destOrd="0" presId="urn:microsoft.com/office/officeart/2005/8/layout/process4"/>
    <dgm:cxn modelId="{5E804F59-0089-452E-8B78-98C0D274D1F1}" srcId="{9FC3E942-931B-4CF7-8F4F-5E109DC4035F}" destId="{BD1440E7-39DB-4606-9DB7-E00AD01956C3}" srcOrd="1" destOrd="0" parTransId="{7F8726EF-A2D1-47DF-B882-4C4E50B862D3}" sibTransId="{EF3F3FBF-4E04-4AFA-9BDD-D9EA2F25EAE9}"/>
    <dgm:cxn modelId="{EF1FE780-8FD5-43DF-A07D-CF370F96DD84}" srcId="{01E1DF0C-A459-49AA-8F8D-34E69D8DBE3E}" destId="{4F0888B7-6164-46C9-BE0B-0C1EFBA5A6EA}" srcOrd="0" destOrd="0" parTransId="{FE218177-9FD4-4A67-AFC9-BBC2A346526B}" sibTransId="{175808E8-40EF-4FCA-99CA-196CA604E703}"/>
    <dgm:cxn modelId="{98E66A90-DD34-4E23-A3FA-7867F942C610}" type="presOf" srcId="{4F0888B7-6164-46C9-BE0B-0C1EFBA5A6EA}" destId="{E3226E4C-4029-4C60-A269-FBDB64755859}" srcOrd="0" destOrd="0" presId="urn:microsoft.com/office/officeart/2005/8/layout/process4"/>
    <dgm:cxn modelId="{01E216B2-CAC5-4651-8C0F-84DDF2E10BAF}" srcId="{9FC3E942-931B-4CF7-8F4F-5E109DC4035F}" destId="{236379AD-E10B-415A-BA44-3DD65F7E61F9}" srcOrd="0" destOrd="0" parTransId="{D6BD8B49-76F0-414D-8522-C7BFAFF86D3F}" sibTransId="{99BFFB64-42C4-44DD-B1B4-0EDD04F1C817}"/>
    <dgm:cxn modelId="{6D855BC2-5A79-4C89-92FE-B71460C07D1C}" type="presOf" srcId="{BD1440E7-39DB-4606-9DB7-E00AD01956C3}" destId="{0F10AC2D-91AE-40CE-BFBA-8D3EE86DD453}" srcOrd="0" destOrd="0" presId="urn:microsoft.com/office/officeart/2005/8/layout/process4"/>
    <dgm:cxn modelId="{FC4EE7CF-8590-4868-BA63-766342E0143C}" type="presOf" srcId="{01E1DF0C-A459-49AA-8F8D-34E69D8DBE3E}" destId="{7443D1D1-2B61-4BE5-BCF6-12CE1C2F18D2}" srcOrd="0" destOrd="0" presId="urn:microsoft.com/office/officeart/2005/8/layout/process4"/>
    <dgm:cxn modelId="{4425B0F2-CE3C-4094-B26C-82595FAA993C}" type="presOf" srcId="{C8F03178-3C11-4E6D-803B-598F61C5DC07}" destId="{F508161A-EDA0-439D-B5EB-61E35B13299C}" srcOrd="0" destOrd="0" presId="urn:microsoft.com/office/officeart/2005/8/layout/process4"/>
    <dgm:cxn modelId="{5BB16CB7-8424-47FD-8EA2-6FD7274CD627}" type="presParOf" srcId="{7443D1D1-2B61-4BE5-BCF6-12CE1C2F18D2}" destId="{7A4AC23D-AB50-4164-B94D-229B23FF564A}" srcOrd="0" destOrd="0" presId="urn:microsoft.com/office/officeart/2005/8/layout/process4"/>
    <dgm:cxn modelId="{70F8816D-35D9-4F99-A3F2-7EB6B28968AA}" type="presParOf" srcId="{7A4AC23D-AB50-4164-B94D-229B23FF564A}" destId="{CEB8DD39-4EE1-4294-99BA-594521314BCE}" srcOrd="0" destOrd="0" presId="urn:microsoft.com/office/officeart/2005/8/layout/process4"/>
    <dgm:cxn modelId="{EDC6B6AE-9B9A-4845-B9CA-2C91677A5BD4}" type="presParOf" srcId="{7A4AC23D-AB50-4164-B94D-229B23FF564A}" destId="{C6857494-0E01-4108-B101-F9574C10AA28}" srcOrd="1" destOrd="0" presId="urn:microsoft.com/office/officeart/2005/8/layout/process4"/>
    <dgm:cxn modelId="{EBD5FB4A-33E0-4755-9D5E-E3F0B03D6486}" type="presParOf" srcId="{7A4AC23D-AB50-4164-B94D-229B23FF564A}" destId="{19724372-AAC2-453B-865D-16B3B57BD6E7}" srcOrd="2" destOrd="0" presId="urn:microsoft.com/office/officeart/2005/8/layout/process4"/>
    <dgm:cxn modelId="{4F79EF33-FD39-445C-973E-21BE35D143B1}" type="presParOf" srcId="{19724372-AAC2-453B-865D-16B3B57BD6E7}" destId="{14EE995A-BC4B-4249-9951-503C0747F5EB}" srcOrd="0" destOrd="0" presId="urn:microsoft.com/office/officeart/2005/8/layout/process4"/>
    <dgm:cxn modelId="{F8296EFD-FED5-4E5C-92D5-A12030CFE955}" type="presParOf" srcId="{19724372-AAC2-453B-865D-16B3B57BD6E7}" destId="{0F10AC2D-91AE-40CE-BFBA-8D3EE86DD453}" srcOrd="1" destOrd="0" presId="urn:microsoft.com/office/officeart/2005/8/layout/process4"/>
    <dgm:cxn modelId="{388A133D-E3D5-4CEF-B36D-9D4E7D265DA3}" type="presParOf" srcId="{19724372-AAC2-453B-865D-16B3B57BD6E7}" destId="{C94E8FB3-0215-4847-BF2A-34D026196DD9}" srcOrd="2" destOrd="0" presId="urn:microsoft.com/office/officeart/2005/8/layout/process4"/>
    <dgm:cxn modelId="{E828A295-E299-4118-AEA6-8B0897FF7E47}" type="presParOf" srcId="{7443D1D1-2B61-4BE5-BCF6-12CE1C2F18D2}" destId="{4AE7D827-BBA9-4FC8-AB42-875ACCDFA6F2}" srcOrd="1" destOrd="0" presId="urn:microsoft.com/office/officeart/2005/8/layout/process4"/>
    <dgm:cxn modelId="{447A2AD1-0ECA-4BFE-A0D2-3A3ACDA8BC88}" type="presParOf" srcId="{7443D1D1-2B61-4BE5-BCF6-12CE1C2F18D2}" destId="{C7E71000-7081-4C6B-8009-7AF7D03F6C25}" srcOrd="2" destOrd="0" presId="urn:microsoft.com/office/officeart/2005/8/layout/process4"/>
    <dgm:cxn modelId="{4C16BF40-17B6-4292-A562-84604AAC734A}" type="presParOf" srcId="{C7E71000-7081-4C6B-8009-7AF7D03F6C25}" destId="{F508161A-EDA0-439D-B5EB-61E35B13299C}" srcOrd="0" destOrd="0" presId="urn:microsoft.com/office/officeart/2005/8/layout/process4"/>
    <dgm:cxn modelId="{81128057-6EBB-443F-BCB8-8A5E49E3002F}" type="presParOf" srcId="{7443D1D1-2B61-4BE5-BCF6-12CE1C2F18D2}" destId="{965D26D5-A39E-4B6C-958B-E9491EFB3306}" srcOrd="3" destOrd="0" presId="urn:microsoft.com/office/officeart/2005/8/layout/process4"/>
    <dgm:cxn modelId="{34D460F0-1389-4039-B814-C4242A0309B0}" type="presParOf" srcId="{7443D1D1-2B61-4BE5-BCF6-12CE1C2F18D2}" destId="{F00DC1B6-684F-4A8B-86E1-5D3F6E4E73FE}" srcOrd="4" destOrd="0" presId="urn:microsoft.com/office/officeart/2005/8/layout/process4"/>
    <dgm:cxn modelId="{4872D328-6932-4F5A-AE45-736AF9640BBC}" type="presParOf" srcId="{F00DC1B6-684F-4A8B-86E1-5D3F6E4E73FE}" destId="{E3226E4C-4029-4C60-A269-FBDB64755859}" srcOrd="0" destOrd="0" presId="urn:microsoft.com/office/officeart/2005/8/layout/process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1E1DF0C-A459-49AA-8F8D-34E69D8DBE3E}" type="doc">
      <dgm:prSet loTypeId="urn:microsoft.com/office/officeart/2005/8/layout/lProcess1" loCatId="process" qsTypeId="urn:microsoft.com/office/officeart/2005/8/quickstyle/simple2" qsCatId="simple" csTypeId="urn:microsoft.com/office/officeart/2005/8/colors/colorful2" csCatId="colorful" phldr="1"/>
      <dgm:spPr/>
      <dgm:t>
        <a:bodyPr/>
        <a:lstStyle/>
        <a:p>
          <a:endParaRPr lang="en-US"/>
        </a:p>
      </dgm:t>
    </dgm:pt>
    <dgm:pt modelId="{59F6C864-5B9B-42D8-884B-5F97D3D41565}">
      <dgm:prSet custT="1"/>
      <dgm:spPr/>
      <dgm:t>
        <a:bodyPr/>
        <a:lstStyle/>
        <a:p>
          <a:r>
            <a:rPr lang="en-US" sz="2000" dirty="0"/>
            <a:t>SQL Operating System</a:t>
          </a:r>
        </a:p>
      </dgm:t>
    </dgm:pt>
    <dgm:pt modelId="{61A9F81F-8313-46A9-AF91-BDC685FB7939}" type="parTrans" cxnId="{D86ECE88-9FBD-4B8D-B598-EAFD48F331D5}">
      <dgm:prSet/>
      <dgm:spPr/>
      <dgm:t>
        <a:bodyPr/>
        <a:lstStyle/>
        <a:p>
          <a:endParaRPr lang="en-US"/>
        </a:p>
      </dgm:t>
    </dgm:pt>
    <dgm:pt modelId="{FAEEAAFD-10E4-4D31-9E09-AC9960366E1C}" type="sibTrans" cxnId="{D86ECE88-9FBD-4B8D-B598-EAFD48F331D5}">
      <dgm:prSet/>
      <dgm:spPr/>
      <dgm:t>
        <a:bodyPr/>
        <a:lstStyle/>
        <a:p>
          <a:endParaRPr lang="en-US"/>
        </a:p>
      </dgm:t>
    </dgm:pt>
    <dgm:pt modelId="{4DE331D4-65B5-4482-87BB-F2C83FF63B15}">
      <dgm:prSet custT="1"/>
      <dgm:spPr/>
      <dgm:t>
        <a:bodyPr/>
        <a:lstStyle/>
        <a:p>
          <a:r>
            <a:rPr lang="en-US" sz="2000" dirty="0"/>
            <a:t>Waits and Queues</a:t>
          </a:r>
        </a:p>
      </dgm:t>
    </dgm:pt>
    <dgm:pt modelId="{7D6A6022-527A-4418-8A18-56A5B0EA3107}" type="parTrans" cxnId="{AB362543-AEDE-4D49-A64E-C28B2B54885B}">
      <dgm:prSet/>
      <dgm:spPr/>
      <dgm:t>
        <a:bodyPr/>
        <a:lstStyle/>
        <a:p>
          <a:endParaRPr lang="en-US"/>
        </a:p>
      </dgm:t>
    </dgm:pt>
    <dgm:pt modelId="{04B154D8-6E13-4E6B-8913-5E6E28066FAA}" type="sibTrans" cxnId="{AB362543-AEDE-4D49-A64E-C28B2B54885B}">
      <dgm:prSet/>
      <dgm:spPr/>
      <dgm:t>
        <a:bodyPr/>
        <a:lstStyle/>
        <a:p>
          <a:endParaRPr lang="en-US"/>
        </a:p>
      </dgm:t>
    </dgm:pt>
    <dgm:pt modelId="{536E8374-BBB8-40BB-ACBD-22E490121568}">
      <dgm:prSet custT="1"/>
      <dgm:spPr/>
      <dgm:t>
        <a:bodyPr/>
        <a:lstStyle/>
        <a:p>
          <a:r>
            <a:rPr lang="en-US" sz="2000" dirty="0"/>
            <a:t>Module 2: SQL Server Architecture</a:t>
          </a:r>
        </a:p>
      </dgm:t>
    </dgm:pt>
    <dgm:pt modelId="{46BC945B-9D04-47F7-8FCB-0B9C69EF93ED}" type="parTrans" cxnId="{58207300-1ADD-40A0-96F5-F59F0C27B3E2}">
      <dgm:prSet/>
      <dgm:spPr/>
      <dgm:t>
        <a:bodyPr/>
        <a:lstStyle/>
        <a:p>
          <a:endParaRPr lang="en-US"/>
        </a:p>
      </dgm:t>
    </dgm:pt>
    <dgm:pt modelId="{498D443E-B527-4599-8CF9-E9DC179B3CE3}" type="sibTrans" cxnId="{58207300-1ADD-40A0-96F5-F59F0C27B3E2}">
      <dgm:prSet/>
      <dgm:spPr/>
      <dgm:t>
        <a:bodyPr/>
        <a:lstStyle/>
        <a:p>
          <a:endParaRPr lang="en-US"/>
        </a:p>
      </dgm:t>
    </dgm:pt>
    <dgm:pt modelId="{4FDDBF9C-A5CF-4EB5-812C-465CBEEE0D2A}">
      <dgm:prSet custT="1"/>
      <dgm:spPr/>
      <dgm:t>
        <a:bodyPr/>
        <a:lstStyle/>
        <a:p>
          <a:r>
            <a:rPr lang="en-US" sz="2000" dirty="0"/>
            <a:t>Module 1: Introduction to Azure SQL</a:t>
          </a:r>
        </a:p>
      </dgm:t>
    </dgm:pt>
    <dgm:pt modelId="{2746F6A5-56FB-46EF-9E1F-99E478DBF140}" type="parTrans" cxnId="{B3B594D9-520D-4784-AC4F-A0AE99CD9647}">
      <dgm:prSet/>
      <dgm:spPr/>
      <dgm:t>
        <a:bodyPr/>
        <a:lstStyle/>
        <a:p>
          <a:endParaRPr lang="en-US"/>
        </a:p>
      </dgm:t>
    </dgm:pt>
    <dgm:pt modelId="{5896482C-0BB4-4581-8CB7-2DEC4ECDE2C5}" type="sibTrans" cxnId="{B3B594D9-520D-4784-AC4F-A0AE99CD9647}">
      <dgm:prSet/>
      <dgm:spPr/>
      <dgm:t>
        <a:bodyPr/>
        <a:lstStyle/>
        <a:p>
          <a:endParaRPr lang="en-US"/>
        </a:p>
      </dgm:t>
    </dgm:pt>
    <dgm:pt modelId="{0F1C5B58-1A17-414E-BBA2-BC85D20E40EF}">
      <dgm:prSet custT="1"/>
      <dgm:spPr/>
      <dgm:t>
        <a:bodyPr/>
        <a:lstStyle/>
        <a:p>
          <a:r>
            <a:rPr lang="en-US" sz="2000" dirty="0"/>
            <a:t>Basic Concepts of Azure SQL</a:t>
          </a:r>
        </a:p>
      </dgm:t>
    </dgm:pt>
    <dgm:pt modelId="{669F93E6-E84B-4665-8DBF-B7AD57B138B5}" type="parTrans" cxnId="{CFE02309-0FE5-435B-8E24-1299975BF92A}">
      <dgm:prSet/>
      <dgm:spPr/>
      <dgm:t>
        <a:bodyPr/>
        <a:lstStyle/>
        <a:p>
          <a:endParaRPr lang="en-US"/>
        </a:p>
      </dgm:t>
    </dgm:pt>
    <dgm:pt modelId="{93439AAE-CC15-4375-8E69-DA2CA84EE1B3}" type="sibTrans" cxnId="{CFE02309-0FE5-435B-8E24-1299975BF92A}">
      <dgm:prSet/>
      <dgm:spPr/>
      <dgm:t>
        <a:bodyPr/>
        <a:lstStyle/>
        <a:p>
          <a:endParaRPr lang="en-US"/>
        </a:p>
      </dgm:t>
    </dgm:pt>
    <dgm:pt modelId="{66C44D02-C619-4A0D-9C50-BF897DA403BD}">
      <dgm:prSet custT="1"/>
      <dgm:spPr/>
      <dgm:t>
        <a:bodyPr/>
        <a:lstStyle/>
        <a:p>
          <a:r>
            <a:rPr lang="en-US" sz="2000" dirty="0"/>
            <a:t>Azure SQL Databases</a:t>
          </a:r>
        </a:p>
      </dgm:t>
    </dgm:pt>
    <dgm:pt modelId="{DD561A2C-F949-4055-8725-558600029BAF}" type="parTrans" cxnId="{E4305E3E-399F-4A5F-8F59-2E73CCF2349D}">
      <dgm:prSet/>
      <dgm:spPr/>
      <dgm:t>
        <a:bodyPr/>
        <a:lstStyle/>
        <a:p>
          <a:endParaRPr lang="en-US"/>
        </a:p>
      </dgm:t>
    </dgm:pt>
    <dgm:pt modelId="{4BA9D13A-14D0-43AE-A6ED-C8186683D22A}" type="sibTrans" cxnId="{E4305E3E-399F-4A5F-8F59-2E73CCF2349D}">
      <dgm:prSet/>
      <dgm:spPr/>
      <dgm:t>
        <a:bodyPr/>
        <a:lstStyle/>
        <a:p>
          <a:endParaRPr lang="en-US"/>
        </a:p>
      </dgm:t>
    </dgm:pt>
    <dgm:pt modelId="{E7E49F4D-121B-4340-99FA-5D9A6EDC0F2B}">
      <dgm:prSet custT="1"/>
      <dgm:spPr/>
      <dgm:t>
        <a:bodyPr/>
        <a:lstStyle/>
        <a:p>
          <a:r>
            <a:rPr lang="en-US" sz="2000" dirty="0"/>
            <a:t>Database I/O</a:t>
          </a:r>
        </a:p>
      </dgm:t>
    </dgm:pt>
    <dgm:pt modelId="{53E492E3-08EB-464B-BFE2-BE370C100D79}" type="parTrans" cxnId="{51225518-8EF2-4A1B-8055-AE5396002CDC}">
      <dgm:prSet/>
      <dgm:spPr/>
      <dgm:t>
        <a:bodyPr/>
        <a:lstStyle/>
        <a:p>
          <a:endParaRPr lang="en-US"/>
        </a:p>
      </dgm:t>
    </dgm:pt>
    <dgm:pt modelId="{070C0B07-EE3B-4C50-A007-C1A249D65999}" type="sibTrans" cxnId="{51225518-8EF2-4A1B-8055-AE5396002CDC}">
      <dgm:prSet/>
      <dgm:spPr/>
      <dgm:t>
        <a:bodyPr/>
        <a:lstStyle/>
        <a:p>
          <a:endParaRPr lang="en-US"/>
        </a:p>
      </dgm:t>
    </dgm:pt>
    <dgm:pt modelId="{CFE01A38-B983-458F-BAF1-A25235FBEF65}" type="pres">
      <dgm:prSet presAssocID="{01E1DF0C-A459-49AA-8F8D-34E69D8DBE3E}" presName="Name0" presStyleCnt="0">
        <dgm:presLayoutVars>
          <dgm:dir/>
          <dgm:animLvl val="lvl"/>
          <dgm:resizeHandles val="exact"/>
        </dgm:presLayoutVars>
      </dgm:prSet>
      <dgm:spPr/>
    </dgm:pt>
    <dgm:pt modelId="{470C3B14-0CDF-4654-94BA-48AD741608E9}" type="pres">
      <dgm:prSet presAssocID="{4FDDBF9C-A5CF-4EB5-812C-465CBEEE0D2A}" presName="vertFlow" presStyleCnt="0"/>
      <dgm:spPr/>
    </dgm:pt>
    <dgm:pt modelId="{D912B29A-1298-4CA1-B082-DE2EBCBFC842}" type="pres">
      <dgm:prSet presAssocID="{4FDDBF9C-A5CF-4EB5-812C-465CBEEE0D2A}" presName="header" presStyleLbl="node1" presStyleIdx="0" presStyleCnt="2"/>
      <dgm:spPr/>
    </dgm:pt>
    <dgm:pt modelId="{BCF584E2-F50C-4956-9C0F-A97B50BF67F9}" type="pres">
      <dgm:prSet presAssocID="{669F93E6-E84B-4665-8DBF-B7AD57B138B5}" presName="parTrans" presStyleLbl="sibTrans2D1" presStyleIdx="0" presStyleCnt="5"/>
      <dgm:spPr/>
    </dgm:pt>
    <dgm:pt modelId="{01EBAA62-4162-48AC-B487-5E13A5475365}" type="pres">
      <dgm:prSet presAssocID="{0F1C5B58-1A17-414E-BBA2-BC85D20E40EF}" presName="child" presStyleLbl="alignAccFollowNode1" presStyleIdx="0" presStyleCnt="5">
        <dgm:presLayoutVars>
          <dgm:chMax val="0"/>
          <dgm:bulletEnabled val="1"/>
        </dgm:presLayoutVars>
      </dgm:prSet>
      <dgm:spPr/>
    </dgm:pt>
    <dgm:pt modelId="{F10B6D35-9DDD-4FC3-A9B3-592F3C9A3404}" type="pres">
      <dgm:prSet presAssocID="{93439AAE-CC15-4375-8E69-DA2CA84EE1B3}" presName="sibTrans" presStyleLbl="sibTrans2D1" presStyleIdx="1" presStyleCnt="5"/>
      <dgm:spPr/>
    </dgm:pt>
    <dgm:pt modelId="{70D8A30F-77EC-4296-A31A-59B3BD3FAAA9}" type="pres">
      <dgm:prSet presAssocID="{66C44D02-C619-4A0D-9C50-BF897DA403BD}" presName="child" presStyleLbl="alignAccFollowNode1" presStyleIdx="1" presStyleCnt="5">
        <dgm:presLayoutVars>
          <dgm:chMax val="0"/>
          <dgm:bulletEnabled val="1"/>
        </dgm:presLayoutVars>
      </dgm:prSet>
      <dgm:spPr/>
    </dgm:pt>
    <dgm:pt modelId="{375300E7-6C23-4EB5-B675-86372B21CE37}" type="pres">
      <dgm:prSet presAssocID="{4FDDBF9C-A5CF-4EB5-812C-465CBEEE0D2A}" presName="hSp" presStyleCnt="0"/>
      <dgm:spPr/>
    </dgm:pt>
    <dgm:pt modelId="{EB272D11-D7C1-481B-8C09-D9093500CB93}" type="pres">
      <dgm:prSet presAssocID="{536E8374-BBB8-40BB-ACBD-22E490121568}" presName="vertFlow" presStyleCnt="0"/>
      <dgm:spPr/>
    </dgm:pt>
    <dgm:pt modelId="{79687A28-7933-40FE-B90E-1BF426CEEBE9}" type="pres">
      <dgm:prSet presAssocID="{536E8374-BBB8-40BB-ACBD-22E490121568}" presName="header" presStyleLbl="node1" presStyleIdx="1" presStyleCnt="2"/>
      <dgm:spPr/>
    </dgm:pt>
    <dgm:pt modelId="{0024E3D4-969F-4562-B6F1-432DAB602984}" type="pres">
      <dgm:prSet presAssocID="{61A9F81F-8313-46A9-AF91-BDC685FB7939}" presName="parTrans" presStyleLbl="sibTrans2D1" presStyleIdx="2" presStyleCnt="5"/>
      <dgm:spPr/>
    </dgm:pt>
    <dgm:pt modelId="{A7104F3A-6625-4D19-A900-803AF04F48D1}" type="pres">
      <dgm:prSet presAssocID="{59F6C864-5B9B-42D8-884B-5F97D3D41565}" presName="child" presStyleLbl="alignAccFollowNode1" presStyleIdx="2" presStyleCnt="5">
        <dgm:presLayoutVars>
          <dgm:chMax val="0"/>
          <dgm:bulletEnabled val="1"/>
        </dgm:presLayoutVars>
      </dgm:prSet>
      <dgm:spPr/>
    </dgm:pt>
    <dgm:pt modelId="{B668CADA-40A7-4DA8-8557-13CA6A501E83}" type="pres">
      <dgm:prSet presAssocID="{FAEEAAFD-10E4-4D31-9E09-AC9960366E1C}" presName="sibTrans" presStyleLbl="sibTrans2D1" presStyleIdx="3" presStyleCnt="5"/>
      <dgm:spPr/>
    </dgm:pt>
    <dgm:pt modelId="{106C2846-DE02-40A4-A05F-80CAD2B38434}" type="pres">
      <dgm:prSet presAssocID="{4DE331D4-65B5-4482-87BB-F2C83FF63B15}" presName="child" presStyleLbl="alignAccFollowNode1" presStyleIdx="3" presStyleCnt="5">
        <dgm:presLayoutVars>
          <dgm:chMax val="0"/>
          <dgm:bulletEnabled val="1"/>
        </dgm:presLayoutVars>
      </dgm:prSet>
      <dgm:spPr/>
    </dgm:pt>
    <dgm:pt modelId="{A9AF6E97-FC79-4B60-9452-AABA18181D1C}" type="pres">
      <dgm:prSet presAssocID="{04B154D8-6E13-4E6B-8913-5E6E28066FAA}" presName="sibTrans" presStyleLbl="sibTrans2D1" presStyleIdx="4" presStyleCnt="5"/>
      <dgm:spPr/>
    </dgm:pt>
    <dgm:pt modelId="{B3990292-5692-4F94-8432-F435D523568D}" type="pres">
      <dgm:prSet presAssocID="{E7E49F4D-121B-4340-99FA-5D9A6EDC0F2B}" presName="child" presStyleLbl="alignAccFollowNode1" presStyleIdx="4" presStyleCnt="5">
        <dgm:presLayoutVars>
          <dgm:chMax val="0"/>
          <dgm:bulletEnabled val="1"/>
        </dgm:presLayoutVars>
      </dgm:prSet>
      <dgm:spPr/>
    </dgm:pt>
  </dgm:ptLst>
  <dgm:cxnLst>
    <dgm:cxn modelId="{58207300-1ADD-40A0-96F5-F59F0C27B3E2}" srcId="{01E1DF0C-A459-49AA-8F8D-34E69D8DBE3E}" destId="{536E8374-BBB8-40BB-ACBD-22E490121568}" srcOrd="1" destOrd="0" parTransId="{46BC945B-9D04-47F7-8FCB-0B9C69EF93ED}" sibTransId="{498D443E-B527-4599-8CF9-E9DC179B3CE3}"/>
    <dgm:cxn modelId="{CFE02309-0FE5-435B-8E24-1299975BF92A}" srcId="{4FDDBF9C-A5CF-4EB5-812C-465CBEEE0D2A}" destId="{0F1C5B58-1A17-414E-BBA2-BC85D20E40EF}" srcOrd="0" destOrd="0" parTransId="{669F93E6-E84B-4665-8DBF-B7AD57B138B5}" sibTransId="{93439AAE-CC15-4375-8E69-DA2CA84EE1B3}"/>
    <dgm:cxn modelId="{0B7B360D-EEDF-410C-9184-5D00DF0BCC67}" type="presOf" srcId="{4DE331D4-65B5-4482-87BB-F2C83FF63B15}" destId="{106C2846-DE02-40A4-A05F-80CAD2B38434}" srcOrd="0" destOrd="0" presId="urn:microsoft.com/office/officeart/2005/8/layout/lProcess1"/>
    <dgm:cxn modelId="{39DBC214-B195-4F48-B1A9-AAF9D89EC849}" type="presOf" srcId="{536E8374-BBB8-40BB-ACBD-22E490121568}" destId="{79687A28-7933-40FE-B90E-1BF426CEEBE9}" srcOrd="0" destOrd="0" presId="urn:microsoft.com/office/officeart/2005/8/layout/lProcess1"/>
    <dgm:cxn modelId="{51225518-8EF2-4A1B-8055-AE5396002CDC}" srcId="{536E8374-BBB8-40BB-ACBD-22E490121568}" destId="{E7E49F4D-121B-4340-99FA-5D9A6EDC0F2B}" srcOrd="2" destOrd="0" parTransId="{53E492E3-08EB-464B-BFE2-BE370C100D79}" sibTransId="{070C0B07-EE3B-4C50-A007-C1A249D65999}"/>
    <dgm:cxn modelId="{4260201A-E1DF-4673-8961-76549ABF0280}" type="presOf" srcId="{4FDDBF9C-A5CF-4EB5-812C-465CBEEE0D2A}" destId="{D912B29A-1298-4CA1-B082-DE2EBCBFC842}" srcOrd="0" destOrd="0" presId="urn:microsoft.com/office/officeart/2005/8/layout/lProcess1"/>
    <dgm:cxn modelId="{02F9C728-CAB8-4E30-9DFB-6EA225948948}" type="presOf" srcId="{01E1DF0C-A459-49AA-8F8D-34E69D8DBE3E}" destId="{CFE01A38-B983-458F-BAF1-A25235FBEF65}" srcOrd="0" destOrd="0" presId="urn:microsoft.com/office/officeart/2005/8/layout/lProcess1"/>
    <dgm:cxn modelId="{E4305E3E-399F-4A5F-8F59-2E73CCF2349D}" srcId="{4FDDBF9C-A5CF-4EB5-812C-465CBEEE0D2A}" destId="{66C44D02-C619-4A0D-9C50-BF897DA403BD}" srcOrd="1" destOrd="0" parTransId="{DD561A2C-F949-4055-8725-558600029BAF}" sibTransId="{4BA9D13A-14D0-43AE-A6ED-C8186683D22A}"/>
    <dgm:cxn modelId="{1D82663E-5A0D-4830-A727-B304BA1D1941}" type="presOf" srcId="{61A9F81F-8313-46A9-AF91-BDC685FB7939}" destId="{0024E3D4-969F-4562-B6F1-432DAB602984}" srcOrd="0" destOrd="0" presId="urn:microsoft.com/office/officeart/2005/8/layout/lProcess1"/>
    <dgm:cxn modelId="{586B5140-E372-4B44-9969-E54621401E3F}" type="presOf" srcId="{59F6C864-5B9B-42D8-884B-5F97D3D41565}" destId="{A7104F3A-6625-4D19-A900-803AF04F48D1}" srcOrd="0" destOrd="0" presId="urn:microsoft.com/office/officeart/2005/8/layout/lProcess1"/>
    <dgm:cxn modelId="{AB362543-AEDE-4D49-A64E-C28B2B54885B}" srcId="{536E8374-BBB8-40BB-ACBD-22E490121568}" destId="{4DE331D4-65B5-4482-87BB-F2C83FF63B15}" srcOrd="1" destOrd="0" parTransId="{7D6A6022-527A-4418-8A18-56A5B0EA3107}" sibTransId="{04B154D8-6E13-4E6B-8913-5E6E28066FAA}"/>
    <dgm:cxn modelId="{83DA177D-02EE-4FCD-8C0C-83583AEE63CF}" type="presOf" srcId="{04B154D8-6E13-4E6B-8913-5E6E28066FAA}" destId="{A9AF6E97-FC79-4B60-9452-AABA18181D1C}" srcOrd="0" destOrd="0" presId="urn:microsoft.com/office/officeart/2005/8/layout/lProcess1"/>
    <dgm:cxn modelId="{D86ECE88-9FBD-4B8D-B598-EAFD48F331D5}" srcId="{536E8374-BBB8-40BB-ACBD-22E490121568}" destId="{59F6C864-5B9B-42D8-884B-5F97D3D41565}" srcOrd="0" destOrd="0" parTransId="{61A9F81F-8313-46A9-AF91-BDC685FB7939}" sibTransId="{FAEEAAFD-10E4-4D31-9E09-AC9960366E1C}"/>
    <dgm:cxn modelId="{AC0EB989-3C85-4025-BDA3-85347C3D1238}" type="presOf" srcId="{93439AAE-CC15-4375-8E69-DA2CA84EE1B3}" destId="{F10B6D35-9DDD-4FC3-A9B3-592F3C9A3404}" srcOrd="0" destOrd="0" presId="urn:microsoft.com/office/officeart/2005/8/layout/lProcess1"/>
    <dgm:cxn modelId="{FF8AC5A2-20A4-425E-B6AA-8EA0839F0FF7}" type="presOf" srcId="{E7E49F4D-121B-4340-99FA-5D9A6EDC0F2B}" destId="{B3990292-5692-4F94-8432-F435D523568D}" srcOrd="0" destOrd="0" presId="urn:microsoft.com/office/officeart/2005/8/layout/lProcess1"/>
    <dgm:cxn modelId="{FCB6DCA4-1921-4681-A19D-74DD9CBDCF0E}" type="presOf" srcId="{0F1C5B58-1A17-414E-BBA2-BC85D20E40EF}" destId="{01EBAA62-4162-48AC-B487-5E13A5475365}" srcOrd="0" destOrd="0" presId="urn:microsoft.com/office/officeart/2005/8/layout/lProcess1"/>
    <dgm:cxn modelId="{7F3FECB7-81C8-4EEC-86A9-7B6363A5AB42}" type="presOf" srcId="{66C44D02-C619-4A0D-9C50-BF897DA403BD}" destId="{70D8A30F-77EC-4296-A31A-59B3BD3FAAA9}" srcOrd="0" destOrd="0" presId="urn:microsoft.com/office/officeart/2005/8/layout/lProcess1"/>
    <dgm:cxn modelId="{B3B594D9-520D-4784-AC4F-A0AE99CD9647}" srcId="{01E1DF0C-A459-49AA-8F8D-34E69D8DBE3E}" destId="{4FDDBF9C-A5CF-4EB5-812C-465CBEEE0D2A}" srcOrd="0" destOrd="0" parTransId="{2746F6A5-56FB-46EF-9E1F-99E478DBF140}" sibTransId="{5896482C-0BB4-4581-8CB7-2DEC4ECDE2C5}"/>
    <dgm:cxn modelId="{BB8C26DB-C796-44E9-AC01-9C526F76F22C}" type="presOf" srcId="{FAEEAAFD-10E4-4D31-9E09-AC9960366E1C}" destId="{B668CADA-40A7-4DA8-8557-13CA6A501E83}" srcOrd="0" destOrd="0" presId="urn:microsoft.com/office/officeart/2005/8/layout/lProcess1"/>
    <dgm:cxn modelId="{A7E8A8F2-7FDE-4869-AFFA-C632BBAF1B23}" type="presOf" srcId="{669F93E6-E84B-4665-8DBF-B7AD57B138B5}" destId="{BCF584E2-F50C-4956-9C0F-A97B50BF67F9}" srcOrd="0" destOrd="0" presId="urn:microsoft.com/office/officeart/2005/8/layout/lProcess1"/>
    <dgm:cxn modelId="{35FFA5A1-CE18-49AC-9C52-394DA6403D7D}" type="presParOf" srcId="{CFE01A38-B983-458F-BAF1-A25235FBEF65}" destId="{470C3B14-0CDF-4654-94BA-48AD741608E9}" srcOrd="0" destOrd="0" presId="urn:microsoft.com/office/officeart/2005/8/layout/lProcess1"/>
    <dgm:cxn modelId="{FE18A041-E674-4AA1-84DB-FCD119E258B4}" type="presParOf" srcId="{470C3B14-0CDF-4654-94BA-48AD741608E9}" destId="{D912B29A-1298-4CA1-B082-DE2EBCBFC842}" srcOrd="0" destOrd="0" presId="urn:microsoft.com/office/officeart/2005/8/layout/lProcess1"/>
    <dgm:cxn modelId="{B4D77531-714A-4965-8034-1BD4BBCA2A7C}" type="presParOf" srcId="{470C3B14-0CDF-4654-94BA-48AD741608E9}" destId="{BCF584E2-F50C-4956-9C0F-A97B50BF67F9}" srcOrd="1" destOrd="0" presId="urn:microsoft.com/office/officeart/2005/8/layout/lProcess1"/>
    <dgm:cxn modelId="{AFFF54F0-6545-42B5-B48F-9951A56B2790}" type="presParOf" srcId="{470C3B14-0CDF-4654-94BA-48AD741608E9}" destId="{01EBAA62-4162-48AC-B487-5E13A5475365}" srcOrd="2" destOrd="0" presId="urn:microsoft.com/office/officeart/2005/8/layout/lProcess1"/>
    <dgm:cxn modelId="{D1A18BC4-A3C9-4F1B-AD52-5309F6328683}" type="presParOf" srcId="{470C3B14-0CDF-4654-94BA-48AD741608E9}" destId="{F10B6D35-9DDD-4FC3-A9B3-592F3C9A3404}" srcOrd="3" destOrd="0" presId="urn:microsoft.com/office/officeart/2005/8/layout/lProcess1"/>
    <dgm:cxn modelId="{FDAE3D1C-8E93-4E85-9366-79CA7B5514AD}" type="presParOf" srcId="{470C3B14-0CDF-4654-94BA-48AD741608E9}" destId="{70D8A30F-77EC-4296-A31A-59B3BD3FAAA9}" srcOrd="4" destOrd="0" presId="urn:microsoft.com/office/officeart/2005/8/layout/lProcess1"/>
    <dgm:cxn modelId="{86EF64B9-B90D-4B18-A8BE-3A7537C73CAE}" type="presParOf" srcId="{CFE01A38-B983-458F-BAF1-A25235FBEF65}" destId="{375300E7-6C23-4EB5-B675-86372B21CE37}" srcOrd="1" destOrd="0" presId="urn:microsoft.com/office/officeart/2005/8/layout/lProcess1"/>
    <dgm:cxn modelId="{19320A63-5BEB-49DC-B0D4-13337AA6B9E0}" type="presParOf" srcId="{CFE01A38-B983-458F-BAF1-A25235FBEF65}" destId="{EB272D11-D7C1-481B-8C09-D9093500CB93}" srcOrd="2" destOrd="0" presId="urn:microsoft.com/office/officeart/2005/8/layout/lProcess1"/>
    <dgm:cxn modelId="{1424193A-50D3-489A-947E-E946978A64B3}" type="presParOf" srcId="{EB272D11-D7C1-481B-8C09-D9093500CB93}" destId="{79687A28-7933-40FE-B90E-1BF426CEEBE9}" srcOrd="0" destOrd="0" presId="urn:microsoft.com/office/officeart/2005/8/layout/lProcess1"/>
    <dgm:cxn modelId="{D9967D0F-400A-41C4-8BDE-64B5643C8F03}" type="presParOf" srcId="{EB272D11-D7C1-481B-8C09-D9093500CB93}" destId="{0024E3D4-969F-4562-B6F1-432DAB602984}" srcOrd="1" destOrd="0" presId="urn:microsoft.com/office/officeart/2005/8/layout/lProcess1"/>
    <dgm:cxn modelId="{3294DF7E-6162-434A-97E3-3AEA31CAD552}" type="presParOf" srcId="{EB272D11-D7C1-481B-8C09-D9093500CB93}" destId="{A7104F3A-6625-4D19-A900-803AF04F48D1}" srcOrd="2" destOrd="0" presId="urn:microsoft.com/office/officeart/2005/8/layout/lProcess1"/>
    <dgm:cxn modelId="{B8D91EF1-018D-4A7E-AA18-C4EA1EB18D83}" type="presParOf" srcId="{EB272D11-D7C1-481B-8C09-D9093500CB93}" destId="{B668CADA-40A7-4DA8-8557-13CA6A501E83}" srcOrd="3" destOrd="0" presId="urn:microsoft.com/office/officeart/2005/8/layout/lProcess1"/>
    <dgm:cxn modelId="{F157F0CF-82DB-4F1F-ACAB-0CE2D9AB6378}" type="presParOf" srcId="{EB272D11-D7C1-481B-8C09-D9093500CB93}" destId="{106C2846-DE02-40A4-A05F-80CAD2B38434}" srcOrd="4" destOrd="0" presId="urn:microsoft.com/office/officeart/2005/8/layout/lProcess1"/>
    <dgm:cxn modelId="{85246B78-C89E-453F-BCFD-B66DAECBE8BA}" type="presParOf" srcId="{EB272D11-D7C1-481B-8C09-D9093500CB93}" destId="{A9AF6E97-FC79-4B60-9452-AABA18181D1C}" srcOrd="5" destOrd="0" presId="urn:microsoft.com/office/officeart/2005/8/layout/lProcess1"/>
    <dgm:cxn modelId="{1D6AFF78-049F-44F6-AFD2-63413F930AD0}" type="presParOf" srcId="{EB272D11-D7C1-481B-8C09-D9093500CB93}" destId="{B3990292-5692-4F94-8432-F435D523568D}" srcOrd="6" destOrd="0" presId="urn:microsoft.com/office/officeart/2005/8/layout/l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1E1DF0C-A459-49AA-8F8D-34E69D8DBE3E}" type="doc">
      <dgm:prSet loTypeId="urn:microsoft.com/office/officeart/2005/8/layout/lProcess1" loCatId="process" qsTypeId="urn:microsoft.com/office/officeart/2005/8/quickstyle/simple1" qsCatId="simple" csTypeId="urn:microsoft.com/office/officeart/2005/8/colors/colorful3" csCatId="colorful" phldr="1"/>
      <dgm:spPr/>
      <dgm:t>
        <a:bodyPr/>
        <a:lstStyle/>
        <a:p>
          <a:endParaRPr lang="en-US"/>
        </a:p>
      </dgm:t>
    </dgm:pt>
    <dgm:pt modelId="{97FE6D97-F2BE-45EB-86B4-26ACE34EF4E9}">
      <dgm:prSet custT="1"/>
      <dgm:spPr/>
      <dgm:t>
        <a:bodyPr/>
        <a:lstStyle/>
        <a:p>
          <a:r>
            <a:rPr lang="en-US" sz="2000" baseline="0" dirty="0"/>
            <a:t>SQL Server Transactions</a:t>
          </a:r>
        </a:p>
      </dgm:t>
    </dgm:pt>
    <dgm:pt modelId="{C2ADBC24-38B3-4F0A-AA69-251381257380}" type="sibTrans" cxnId="{CC101BF5-BCCC-47B9-91F5-0C16F6DF2930}">
      <dgm:prSet/>
      <dgm:spPr/>
      <dgm:t>
        <a:bodyPr/>
        <a:lstStyle/>
        <a:p>
          <a:endParaRPr lang="en-US"/>
        </a:p>
      </dgm:t>
    </dgm:pt>
    <dgm:pt modelId="{E1485A84-A6A7-4C1E-917D-70B577E102EA}" type="parTrans" cxnId="{CC101BF5-BCCC-47B9-91F5-0C16F6DF2930}">
      <dgm:prSet/>
      <dgm:spPr/>
      <dgm:t>
        <a:bodyPr/>
        <a:lstStyle/>
        <a:p>
          <a:endParaRPr lang="en-US"/>
        </a:p>
      </dgm:t>
    </dgm:pt>
    <dgm:pt modelId="{840E3605-D617-4ABA-815E-EAFD3358C98B}">
      <dgm:prSet custT="1"/>
      <dgm:spPr/>
      <dgm:t>
        <a:bodyPr/>
        <a:lstStyle/>
        <a:p>
          <a:r>
            <a:rPr lang="en-US" sz="2000" baseline="0" dirty="0"/>
            <a:t>SQL Server Locking</a:t>
          </a:r>
        </a:p>
      </dgm:t>
    </dgm:pt>
    <dgm:pt modelId="{1C2E9AE7-A267-4B97-9577-E502F55D7B99}" type="parTrans" cxnId="{689AE3E5-DD22-4C29-BA2E-03F8B6443C5B}">
      <dgm:prSet/>
      <dgm:spPr/>
      <dgm:t>
        <a:bodyPr/>
        <a:lstStyle/>
        <a:p>
          <a:endParaRPr lang="en-US"/>
        </a:p>
      </dgm:t>
    </dgm:pt>
    <dgm:pt modelId="{356EBAA2-F208-40A3-894C-5E5F87EE16D5}" type="sibTrans" cxnId="{689AE3E5-DD22-4C29-BA2E-03F8B6443C5B}">
      <dgm:prSet/>
      <dgm:spPr/>
      <dgm:t>
        <a:bodyPr/>
        <a:lstStyle/>
        <a:p>
          <a:endParaRPr lang="en-US"/>
        </a:p>
      </dgm:t>
    </dgm:pt>
    <dgm:pt modelId="{FC8F79FC-5DFA-4E13-B629-BFAC08349FCA}">
      <dgm:prSet custT="1"/>
      <dgm:spPr/>
      <dgm:t>
        <a:bodyPr/>
        <a:lstStyle/>
        <a:p>
          <a:r>
            <a:rPr lang="en-US" sz="2000" baseline="0" dirty="0"/>
            <a:t>Blocking and Deadlocking</a:t>
          </a:r>
        </a:p>
      </dgm:t>
    </dgm:pt>
    <dgm:pt modelId="{2750DF9B-A4D9-41F0-822D-1C65A054E8ED}" type="parTrans" cxnId="{B8C8486D-2177-45BD-89BE-F8C12BA6A255}">
      <dgm:prSet/>
      <dgm:spPr/>
      <dgm:t>
        <a:bodyPr/>
        <a:lstStyle/>
        <a:p>
          <a:endParaRPr lang="en-US"/>
        </a:p>
      </dgm:t>
    </dgm:pt>
    <dgm:pt modelId="{ACE0C3BC-7040-4121-A75B-FEE2515BE9A3}" type="sibTrans" cxnId="{B8C8486D-2177-45BD-89BE-F8C12BA6A255}">
      <dgm:prSet/>
      <dgm:spPr/>
      <dgm:t>
        <a:bodyPr/>
        <a:lstStyle/>
        <a:p>
          <a:endParaRPr lang="en-US"/>
        </a:p>
      </dgm:t>
    </dgm:pt>
    <dgm:pt modelId="{499312B1-EA7E-4D2D-BA43-4B28DAE828BB}">
      <dgm:prSet custT="1"/>
      <dgm:spPr/>
      <dgm:t>
        <a:bodyPr/>
        <a:lstStyle/>
        <a:p>
          <a:r>
            <a:rPr lang="en-US" sz="2000" baseline="0" dirty="0"/>
            <a:t>Module 3:  Transactions and Concurrency</a:t>
          </a:r>
        </a:p>
      </dgm:t>
    </dgm:pt>
    <dgm:pt modelId="{45553580-F555-413F-9930-CCD4B32813B5}" type="parTrans" cxnId="{88AA6055-23B5-4DEA-8056-E2581C092007}">
      <dgm:prSet/>
      <dgm:spPr/>
      <dgm:t>
        <a:bodyPr/>
        <a:lstStyle/>
        <a:p>
          <a:endParaRPr lang="en-US"/>
        </a:p>
      </dgm:t>
    </dgm:pt>
    <dgm:pt modelId="{ED5F0BF9-ED10-4DCC-99A8-63E3439A68B7}" type="sibTrans" cxnId="{88AA6055-23B5-4DEA-8056-E2581C092007}">
      <dgm:prSet/>
      <dgm:spPr/>
      <dgm:t>
        <a:bodyPr/>
        <a:lstStyle/>
        <a:p>
          <a:endParaRPr lang="en-US"/>
        </a:p>
      </dgm:t>
    </dgm:pt>
    <dgm:pt modelId="{5039D2E2-0AFF-4C8F-BCAF-A0180E3014C9}">
      <dgm:prSet custT="1"/>
      <dgm:spPr/>
      <dgm:t>
        <a:bodyPr/>
        <a:lstStyle/>
        <a:p>
          <a:r>
            <a:rPr lang="en-US" sz="2000" dirty="0"/>
            <a:t>Module 4: SQL Server Indexing</a:t>
          </a:r>
          <a:endParaRPr lang="en-US" sz="2000" baseline="0" dirty="0"/>
        </a:p>
      </dgm:t>
    </dgm:pt>
    <dgm:pt modelId="{146373F0-E57C-43F8-A9A0-55C2B6226F6F}" type="parTrans" cxnId="{64A18A1E-4572-422A-A1C5-1DD50DD78F72}">
      <dgm:prSet/>
      <dgm:spPr/>
      <dgm:t>
        <a:bodyPr/>
        <a:lstStyle/>
        <a:p>
          <a:endParaRPr lang="en-US"/>
        </a:p>
      </dgm:t>
    </dgm:pt>
    <dgm:pt modelId="{E7BE5E3F-581A-4E0A-8B21-909DDE9E59EB}" type="sibTrans" cxnId="{64A18A1E-4572-422A-A1C5-1DD50DD78F72}">
      <dgm:prSet/>
      <dgm:spPr/>
      <dgm:t>
        <a:bodyPr/>
        <a:lstStyle/>
        <a:p>
          <a:endParaRPr lang="en-US"/>
        </a:p>
      </dgm:t>
    </dgm:pt>
    <dgm:pt modelId="{12285AAE-C34D-4A9E-8324-16209C0CD177}">
      <dgm:prSet custT="1"/>
      <dgm:spPr/>
      <dgm:t>
        <a:bodyPr/>
        <a:lstStyle/>
        <a:p>
          <a:r>
            <a:rPr lang="en-US" sz="2000" dirty="0"/>
            <a:t>Indexing Internals and Strategies</a:t>
          </a:r>
        </a:p>
      </dgm:t>
    </dgm:pt>
    <dgm:pt modelId="{48B42DD1-BB1C-4B28-B560-451B43F9AA61}" type="parTrans" cxnId="{4F39EEE4-412F-44CD-ABA9-3ECAB0F99E29}">
      <dgm:prSet/>
      <dgm:spPr/>
      <dgm:t>
        <a:bodyPr/>
        <a:lstStyle/>
        <a:p>
          <a:endParaRPr lang="en-US"/>
        </a:p>
      </dgm:t>
    </dgm:pt>
    <dgm:pt modelId="{BF39928A-019A-480B-A909-21042A7816F2}" type="sibTrans" cxnId="{4F39EEE4-412F-44CD-ABA9-3ECAB0F99E29}">
      <dgm:prSet/>
      <dgm:spPr/>
      <dgm:t>
        <a:bodyPr/>
        <a:lstStyle/>
        <a:p>
          <a:endParaRPr lang="en-US"/>
        </a:p>
      </dgm:t>
    </dgm:pt>
    <dgm:pt modelId="{131F6E7A-0603-454C-AA90-F5284BF289E1}">
      <dgm:prSet custT="1"/>
      <dgm:spPr/>
      <dgm:t>
        <a:bodyPr/>
        <a:lstStyle/>
        <a:p>
          <a:r>
            <a:rPr lang="en-US" sz="2000" dirty="0"/>
            <a:t>Index Monitoring and Fragmentation</a:t>
          </a:r>
        </a:p>
      </dgm:t>
    </dgm:pt>
    <dgm:pt modelId="{2C2EC023-385A-4AA6-84A6-E57DAD527314}" type="parTrans" cxnId="{62EC0A57-B843-4F5D-9042-5F81FB10236B}">
      <dgm:prSet/>
      <dgm:spPr/>
      <dgm:t>
        <a:bodyPr/>
        <a:lstStyle/>
        <a:p>
          <a:endParaRPr lang="en-US"/>
        </a:p>
      </dgm:t>
    </dgm:pt>
    <dgm:pt modelId="{35137041-0787-438D-A850-7984E070F688}" type="sibTrans" cxnId="{62EC0A57-B843-4F5D-9042-5F81FB10236B}">
      <dgm:prSet/>
      <dgm:spPr/>
      <dgm:t>
        <a:bodyPr/>
        <a:lstStyle/>
        <a:p>
          <a:endParaRPr lang="en-US"/>
        </a:p>
      </dgm:t>
    </dgm:pt>
    <dgm:pt modelId="{25DD2BFD-8DE5-4D8B-B82E-498D362E0DFC}">
      <dgm:prSet custT="1"/>
      <dgm:spPr/>
      <dgm:t>
        <a:bodyPr/>
        <a:lstStyle/>
        <a:p>
          <a:r>
            <a:rPr lang="en-US" sz="2000" dirty="0"/>
            <a:t>Statistics Overview</a:t>
          </a:r>
        </a:p>
      </dgm:t>
    </dgm:pt>
    <dgm:pt modelId="{72C0FF64-86B2-432A-BF93-B5FEF13D40C9}" type="parTrans" cxnId="{E1460BA3-7C6F-41D3-BD5B-FFAEEDC6186B}">
      <dgm:prSet/>
      <dgm:spPr/>
      <dgm:t>
        <a:bodyPr/>
        <a:lstStyle/>
        <a:p>
          <a:endParaRPr lang="en-US"/>
        </a:p>
      </dgm:t>
    </dgm:pt>
    <dgm:pt modelId="{3DF5BF68-4E54-4804-B891-A7FC5BFFF5B8}" type="sibTrans" cxnId="{E1460BA3-7C6F-41D3-BD5B-FFAEEDC6186B}">
      <dgm:prSet/>
      <dgm:spPr/>
      <dgm:t>
        <a:bodyPr/>
        <a:lstStyle/>
        <a:p>
          <a:endParaRPr lang="en-US"/>
        </a:p>
      </dgm:t>
    </dgm:pt>
    <dgm:pt modelId="{BDB444FE-D103-49BE-83CD-D42E04F4C555}" type="pres">
      <dgm:prSet presAssocID="{01E1DF0C-A459-49AA-8F8D-34E69D8DBE3E}" presName="Name0" presStyleCnt="0">
        <dgm:presLayoutVars>
          <dgm:dir/>
          <dgm:animLvl val="lvl"/>
          <dgm:resizeHandles val="exact"/>
        </dgm:presLayoutVars>
      </dgm:prSet>
      <dgm:spPr/>
    </dgm:pt>
    <dgm:pt modelId="{81A5B2A0-7156-44CC-AB52-739448111376}" type="pres">
      <dgm:prSet presAssocID="{499312B1-EA7E-4D2D-BA43-4B28DAE828BB}" presName="vertFlow" presStyleCnt="0"/>
      <dgm:spPr/>
    </dgm:pt>
    <dgm:pt modelId="{42044A40-BF68-4695-84D3-56DF173F8F42}" type="pres">
      <dgm:prSet presAssocID="{499312B1-EA7E-4D2D-BA43-4B28DAE828BB}" presName="header" presStyleLbl="node1" presStyleIdx="0" presStyleCnt="2"/>
      <dgm:spPr/>
    </dgm:pt>
    <dgm:pt modelId="{217EDA0E-4729-47B3-8156-66D175A0FE16}" type="pres">
      <dgm:prSet presAssocID="{E1485A84-A6A7-4C1E-917D-70B577E102EA}" presName="parTrans" presStyleLbl="sibTrans2D1" presStyleIdx="0" presStyleCnt="6"/>
      <dgm:spPr/>
    </dgm:pt>
    <dgm:pt modelId="{2D10722C-077A-43D2-8B37-E38CAFCB0F53}" type="pres">
      <dgm:prSet presAssocID="{97FE6D97-F2BE-45EB-86B4-26ACE34EF4E9}" presName="child" presStyleLbl="alignAccFollowNode1" presStyleIdx="0" presStyleCnt="6">
        <dgm:presLayoutVars>
          <dgm:chMax val="0"/>
          <dgm:bulletEnabled val="1"/>
        </dgm:presLayoutVars>
      </dgm:prSet>
      <dgm:spPr/>
    </dgm:pt>
    <dgm:pt modelId="{B4C7C0A9-0FC7-43D3-9F18-19E92C3CBFFB}" type="pres">
      <dgm:prSet presAssocID="{C2ADBC24-38B3-4F0A-AA69-251381257380}" presName="sibTrans" presStyleLbl="sibTrans2D1" presStyleIdx="1" presStyleCnt="6"/>
      <dgm:spPr/>
    </dgm:pt>
    <dgm:pt modelId="{2FFCF655-45BC-467D-8C97-273452B9B402}" type="pres">
      <dgm:prSet presAssocID="{840E3605-D617-4ABA-815E-EAFD3358C98B}" presName="child" presStyleLbl="alignAccFollowNode1" presStyleIdx="1" presStyleCnt="6">
        <dgm:presLayoutVars>
          <dgm:chMax val="0"/>
          <dgm:bulletEnabled val="1"/>
        </dgm:presLayoutVars>
      </dgm:prSet>
      <dgm:spPr/>
    </dgm:pt>
    <dgm:pt modelId="{544AAD2C-E2CF-423C-BFCB-E6F580A4482A}" type="pres">
      <dgm:prSet presAssocID="{356EBAA2-F208-40A3-894C-5E5F87EE16D5}" presName="sibTrans" presStyleLbl="sibTrans2D1" presStyleIdx="2" presStyleCnt="6"/>
      <dgm:spPr/>
    </dgm:pt>
    <dgm:pt modelId="{403A4938-5385-4A97-9E7E-ED34C05F4BEE}" type="pres">
      <dgm:prSet presAssocID="{FC8F79FC-5DFA-4E13-B629-BFAC08349FCA}" presName="child" presStyleLbl="alignAccFollowNode1" presStyleIdx="2" presStyleCnt="6">
        <dgm:presLayoutVars>
          <dgm:chMax val="0"/>
          <dgm:bulletEnabled val="1"/>
        </dgm:presLayoutVars>
      </dgm:prSet>
      <dgm:spPr/>
    </dgm:pt>
    <dgm:pt modelId="{0CC3274F-C627-49A4-A650-243E6BEEB030}" type="pres">
      <dgm:prSet presAssocID="{499312B1-EA7E-4D2D-BA43-4B28DAE828BB}" presName="hSp" presStyleCnt="0"/>
      <dgm:spPr/>
    </dgm:pt>
    <dgm:pt modelId="{47342054-9B65-4F61-8E1B-71781FBE851A}" type="pres">
      <dgm:prSet presAssocID="{5039D2E2-0AFF-4C8F-BCAF-A0180E3014C9}" presName="vertFlow" presStyleCnt="0"/>
      <dgm:spPr/>
    </dgm:pt>
    <dgm:pt modelId="{64155B52-047E-4560-BB40-B25EC0AA65C4}" type="pres">
      <dgm:prSet presAssocID="{5039D2E2-0AFF-4C8F-BCAF-A0180E3014C9}" presName="header" presStyleLbl="node1" presStyleIdx="1" presStyleCnt="2"/>
      <dgm:spPr/>
    </dgm:pt>
    <dgm:pt modelId="{9E4D400B-BCE9-4D0C-A34C-DE0BC15734C5}" type="pres">
      <dgm:prSet presAssocID="{48B42DD1-BB1C-4B28-B560-451B43F9AA61}" presName="parTrans" presStyleLbl="sibTrans2D1" presStyleIdx="3" presStyleCnt="6"/>
      <dgm:spPr/>
    </dgm:pt>
    <dgm:pt modelId="{4F692ADB-84C4-4CD2-87D5-39893A59D786}" type="pres">
      <dgm:prSet presAssocID="{12285AAE-C34D-4A9E-8324-16209C0CD177}" presName="child" presStyleLbl="alignAccFollowNode1" presStyleIdx="3" presStyleCnt="6">
        <dgm:presLayoutVars>
          <dgm:chMax val="0"/>
          <dgm:bulletEnabled val="1"/>
        </dgm:presLayoutVars>
      </dgm:prSet>
      <dgm:spPr/>
    </dgm:pt>
    <dgm:pt modelId="{1F916FB7-DB34-427E-9619-60836B697D2F}" type="pres">
      <dgm:prSet presAssocID="{BF39928A-019A-480B-A909-21042A7816F2}" presName="sibTrans" presStyleLbl="sibTrans2D1" presStyleIdx="4" presStyleCnt="6"/>
      <dgm:spPr/>
    </dgm:pt>
    <dgm:pt modelId="{01FE48E7-DA79-44CE-9E5B-C4457B1961F3}" type="pres">
      <dgm:prSet presAssocID="{131F6E7A-0603-454C-AA90-F5284BF289E1}" presName="child" presStyleLbl="alignAccFollowNode1" presStyleIdx="4" presStyleCnt="6">
        <dgm:presLayoutVars>
          <dgm:chMax val="0"/>
          <dgm:bulletEnabled val="1"/>
        </dgm:presLayoutVars>
      </dgm:prSet>
      <dgm:spPr/>
    </dgm:pt>
    <dgm:pt modelId="{5386EA9B-D0A8-41E2-AD2C-A7B41F0400A9}" type="pres">
      <dgm:prSet presAssocID="{35137041-0787-438D-A850-7984E070F688}" presName="sibTrans" presStyleLbl="sibTrans2D1" presStyleIdx="5" presStyleCnt="6"/>
      <dgm:spPr/>
    </dgm:pt>
    <dgm:pt modelId="{07A2BBFB-776C-48DF-88D5-D0567F70D4CA}" type="pres">
      <dgm:prSet presAssocID="{25DD2BFD-8DE5-4D8B-B82E-498D362E0DFC}" presName="child" presStyleLbl="alignAccFollowNode1" presStyleIdx="5" presStyleCnt="6">
        <dgm:presLayoutVars>
          <dgm:chMax val="0"/>
          <dgm:bulletEnabled val="1"/>
        </dgm:presLayoutVars>
      </dgm:prSet>
      <dgm:spPr/>
    </dgm:pt>
  </dgm:ptLst>
  <dgm:cxnLst>
    <dgm:cxn modelId="{9E529D12-8A25-4D7B-9D33-38328F705070}" type="presOf" srcId="{5039D2E2-0AFF-4C8F-BCAF-A0180E3014C9}" destId="{64155B52-047E-4560-BB40-B25EC0AA65C4}" srcOrd="0" destOrd="0" presId="urn:microsoft.com/office/officeart/2005/8/layout/lProcess1"/>
    <dgm:cxn modelId="{D306E013-63E2-4A75-937D-1560934D0721}" type="presOf" srcId="{C2ADBC24-38B3-4F0A-AA69-251381257380}" destId="{B4C7C0A9-0FC7-43D3-9F18-19E92C3CBFFB}" srcOrd="0" destOrd="0" presId="urn:microsoft.com/office/officeart/2005/8/layout/lProcess1"/>
    <dgm:cxn modelId="{84C27D16-F68C-411D-AC4B-F60CB893B2C5}" type="presOf" srcId="{97FE6D97-F2BE-45EB-86B4-26ACE34EF4E9}" destId="{2D10722C-077A-43D2-8B37-E38CAFCB0F53}" srcOrd="0" destOrd="0" presId="urn:microsoft.com/office/officeart/2005/8/layout/lProcess1"/>
    <dgm:cxn modelId="{64A18A1E-4572-422A-A1C5-1DD50DD78F72}" srcId="{01E1DF0C-A459-49AA-8F8D-34E69D8DBE3E}" destId="{5039D2E2-0AFF-4C8F-BCAF-A0180E3014C9}" srcOrd="1" destOrd="0" parTransId="{146373F0-E57C-43F8-A9A0-55C2B6226F6F}" sibTransId="{E7BE5E3F-581A-4E0A-8B21-909DDE9E59EB}"/>
    <dgm:cxn modelId="{BDBB386C-3AB3-4207-BFBC-32738C99C40C}" type="presOf" srcId="{E1485A84-A6A7-4C1E-917D-70B577E102EA}" destId="{217EDA0E-4729-47B3-8156-66D175A0FE16}" srcOrd="0" destOrd="0" presId="urn:microsoft.com/office/officeart/2005/8/layout/lProcess1"/>
    <dgm:cxn modelId="{B8C8486D-2177-45BD-89BE-F8C12BA6A255}" srcId="{499312B1-EA7E-4D2D-BA43-4B28DAE828BB}" destId="{FC8F79FC-5DFA-4E13-B629-BFAC08349FCA}" srcOrd="2" destOrd="0" parTransId="{2750DF9B-A4D9-41F0-822D-1C65A054E8ED}" sibTransId="{ACE0C3BC-7040-4121-A75B-FEE2515BE9A3}"/>
    <dgm:cxn modelId="{530F8F6F-35C0-4099-AECF-2342DCF85360}" type="presOf" srcId="{25DD2BFD-8DE5-4D8B-B82E-498D362E0DFC}" destId="{07A2BBFB-776C-48DF-88D5-D0567F70D4CA}" srcOrd="0" destOrd="0" presId="urn:microsoft.com/office/officeart/2005/8/layout/lProcess1"/>
    <dgm:cxn modelId="{C170A74F-DEA3-481E-9B4C-154E777B9547}" type="presOf" srcId="{35137041-0787-438D-A850-7984E070F688}" destId="{5386EA9B-D0A8-41E2-AD2C-A7B41F0400A9}" srcOrd="0" destOrd="0" presId="urn:microsoft.com/office/officeart/2005/8/layout/lProcess1"/>
    <dgm:cxn modelId="{88AA6055-23B5-4DEA-8056-E2581C092007}" srcId="{01E1DF0C-A459-49AA-8F8D-34E69D8DBE3E}" destId="{499312B1-EA7E-4D2D-BA43-4B28DAE828BB}" srcOrd="0" destOrd="0" parTransId="{45553580-F555-413F-9930-CCD4B32813B5}" sibTransId="{ED5F0BF9-ED10-4DCC-99A8-63E3439A68B7}"/>
    <dgm:cxn modelId="{D7AF1476-C39C-4716-A32E-267FF945AF11}" type="presOf" srcId="{01E1DF0C-A459-49AA-8F8D-34E69D8DBE3E}" destId="{BDB444FE-D103-49BE-83CD-D42E04F4C555}" srcOrd="0" destOrd="0" presId="urn:microsoft.com/office/officeart/2005/8/layout/lProcess1"/>
    <dgm:cxn modelId="{62EC0A57-B843-4F5D-9042-5F81FB10236B}" srcId="{5039D2E2-0AFF-4C8F-BCAF-A0180E3014C9}" destId="{131F6E7A-0603-454C-AA90-F5284BF289E1}" srcOrd="1" destOrd="0" parTransId="{2C2EC023-385A-4AA6-84A6-E57DAD527314}" sibTransId="{35137041-0787-438D-A850-7984E070F688}"/>
    <dgm:cxn modelId="{42454E91-320A-4C62-8EE6-6DA6C956489D}" type="presOf" srcId="{840E3605-D617-4ABA-815E-EAFD3358C98B}" destId="{2FFCF655-45BC-467D-8C97-273452B9B402}" srcOrd="0" destOrd="0" presId="urn:microsoft.com/office/officeart/2005/8/layout/lProcess1"/>
    <dgm:cxn modelId="{E1460BA3-7C6F-41D3-BD5B-FFAEEDC6186B}" srcId="{5039D2E2-0AFF-4C8F-BCAF-A0180E3014C9}" destId="{25DD2BFD-8DE5-4D8B-B82E-498D362E0DFC}" srcOrd="2" destOrd="0" parTransId="{72C0FF64-86B2-432A-BF93-B5FEF13D40C9}" sibTransId="{3DF5BF68-4E54-4804-B891-A7FC5BFFF5B8}"/>
    <dgm:cxn modelId="{25E313C1-4BB5-44A0-ADD5-BC057E4DC9F1}" type="presOf" srcId="{FC8F79FC-5DFA-4E13-B629-BFAC08349FCA}" destId="{403A4938-5385-4A97-9E7E-ED34C05F4BEE}" srcOrd="0" destOrd="0" presId="urn:microsoft.com/office/officeart/2005/8/layout/lProcess1"/>
    <dgm:cxn modelId="{7A4FFEC4-B787-4AB9-95C1-746BC1B5914D}" type="presOf" srcId="{499312B1-EA7E-4D2D-BA43-4B28DAE828BB}" destId="{42044A40-BF68-4695-84D3-56DF173F8F42}" srcOrd="0" destOrd="0" presId="urn:microsoft.com/office/officeart/2005/8/layout/lProcess1"/>
    <dgm:cxn modelId="{CB25D0CD-CDE1-49C2-B08D-68E2295BC061}" type="presOf" srcId="{12285AAE-C34D-4A9E-8324-16209C0CD177}" destId="{4F692ADB-84C4-4CD2-87D5-39893A59D786}" srcOrd="0" destOrd="0" presId="urn:microsoft.com/office/officeart/2005/8/layout/lProcess1"/>
    <dgm:cxn modelId="{9E5BF9D6-AA58-40F8-939A-A2B23243614C}" type="presOf" srcId="{131F6E7A-0603-454C-AA90-F5284BF289E1}" destId="{01FE48E7-DA79-44CE-9E5B-C4457B1961F3}" srcOrd="0" destOrd="0" presId="urn:microsoft.com/office/officeart/2005/8/layout/lProcess1"/>
    <dgm:cxn modelId="{3631CBDD-8867-45F4-BAA5-DAF9009ABD55}" type="presOf" srcId="{BF39928A-019A-480B-A909-21042A7816F2}" destId="{1F916FB7-DB34-427E-9619-60836B697D2F}" srcOrd="0" destOrd="0" presId="urn:microsoft.com/office/officeart/2005/8/layout/lProcess1"/>
    <dgm:cxn modelId="{322AEEE3-82E9-4879-88E3-09FEAC3423B9}" type="presOf" srcId="{356EBAA2-F208-40A3-894C-5E5F87EE16D5}" destId="{544AAD2C-E2CF-423C-BFCB-E6F580A4482A}" srcOrd="0" destOrd="0" presId="urn:microsoft.com/office/officeart/2005/8/layout/lProcess1"/>
    <dgm:cxn modelId="{4F39EEE4-412F-44CD-ABA9-3ECAB0F99E29}" srcId="{5039D2E2-0AFF-4C8F-BCAF-A0180E3014C9}" destId="{12285AAE-C34D-4A9E-8324-16209C0CD177}" srcOrd="0" destOrd="0" parTransId="{48B42DD1-BB1C-4B28-B560-451B43F9AA61}" sibTransId="{BF39928A-019A-480B-A909-21042A7816F2}"/>
    <dgm:cxn modelId="{689AE3E5-DD22-4C29-BA2E-03F8B6443C5B}" srcId="{499312B1-EA7E-4D2D-BA43-4B28DAE828BB}" destId="{840E3605-D617-4ABA-815E-EAFD3358C98B}" srcOrd="1" destOrd="0" parTransId="{1C2E9AE7-A267-4B97-9577-E502F55D7B99}" sibTransId="{356EBAA2-F208-40A3-894C-5E5F87EE16D5}"/>
    <dgm:cxn modelId="{6CC732E8-2B5E-49CE-A666-CF7317441DE1}" type="presOf" srcId="{48B42DD1-BB1C-4B28-B560-451B43F9AA61}" destId="{9E4D400B-BCE9-4D0C-A34C-DE0BC15734C5}" srcOrd="0" destOrd="0" presId="urn:microsoft.com/office/officeart/2005/8/layout/lProcess1"/>
    <dgm:cxn modelId="{CC101BF5-BCCC-47B9-91F5-0C16F6DF2930}" srcId="{499312B1-EA7E-4D2D-BA43-4B28DAE828BB}" destId="{97FE6D97-F2BE-45EB-86B4-26ACE34EF4E9}" srcOrd="0" destOrd="0" parTransId="{E1485A84-A6A7-4C1E-917D-70B577E102EA}" sibTransId="{C2ADBC24-38B3-4F0A-AA69-251381257380}"/>
    <dgm:cxn modelId="{02331931-9B53-490D-8359-9782EA05F05F}" type="presParOf" srcId="{BDB444FE-D103-49BE-83CD-D42E04F4C555}" destId="{81A5B2A0-7156-44CC-AB52-739448111376}" srcOrd="0" destOrd="0" presId="urn:microsoft.com/office/officeart/2005/8/layout/lProcess1"/>
    <dgm:cxn modelId="{2E0CFC4F-EEB2-4664-A1B2-D530F2264074}" type="presParOf" srcId="{81A5B2A0-7156-44CC-AB52-739448111376}" destId="{42044A40-BF68-4695-84D3-56DF173F8F42}" srcOrd="0" destOrd="0" presId="urn:microsoft.com/office/officeart/2005/8/layout/lProcess1"/>
    <dgm:cxn modelId="{1900D46F-E3DF-456F-8D14-612E9664F46B}" type="presParOf" srcId="{81A5B2A0-7156-44CC-AB52-739448111376}" destId="{217EDA0E-4729-47B3-8156-66D175A0FE16}" srcOrd="1" destOrd="0" presId="urn:microsoft.com/office/officeart/2005/8/layout/lProcess1"/>
    <dgm:cxn modelId="{6A59C276-4096-46C7-B260-CCCDF66EDA5A}" type="presParOf" srcId="{81A5B2A0-7156-44CC-AB52-739448111376}" destId="{2D10722C-077A-43D2-8B37-E38CAFCB0F53}" srcOrd="2" destOrd="0" presId="urn:microsoft.com/office/officeart/2005/8/layout/lProcess1"/>
    <dgm:cxn modelId="{2A05F328-09D9-42FA-A621-D68B0E32010E}" type="presParOf" srcId="{81A5B2A0-7156-44CC-AB52-739448111376}" destId="{B4C7C0A9-0FC7-43D3-9F18-19E92C3CBFFB}" srcOrd="3" destOrd="0" presId="urn:microsoft.com/office/officeart/2005/8/layout/lProcess1"/>
    <dgm:cxn modelId="{7703E91A-A27C-4754-B9DD-51FAF9B10568}" type="presParOf" srcId="{81A5B2A0-7156-44CC-AB52-739448111376}" destId="{2FFCF655-45BC-467D-8C97-273452B9B402}" srcOrd="4" destOrd="0" presId="urn:microsoft.com/office/officeart/2005/8/layout/lProcess1"/>
    <dgm:cxn modelId="{A1610D22-A4EE-41C2-B88D-86A60982D073}" type="presParOf" srcId="{81A5B2A0-7156-44CC-AB52-739448111376}" destId="{544AAD2C-E2CF-423C-BFCB-E6F580A4482A}" srcOrd="5" destOrd="0" presId="urn:microsoft.com/office/officeart/2005/8/layout/lProcess1"/>
    <dgm:cxn modelId="{A9E37185-E6B4-417C-B60F-65DDA92B3F76}" type="presParOf" srcId="{81A5B2A0-7156-44CC-AB52-739448111376}" destId="{403A4938-5385-4A97-9E7E-ED34C05F4BEE}" srcOrd="6" destOrd="0" presId="urn:microsoft.com/office/officeart/2005/8/layout/lProcess1"/>
    <dgm:cxn modelId="{B9CE73BF-70CB-40B0-B0AA-1261444B8443}" type="presParOf" srcId="{BDB444FE-D103-49BE-83CD-D42E04F4C555}" destId="{0CC3274F-C627-49A4-A650-243E6BEEB030}" srcOrd="1" destOrd="0" presId="urn:microsoft.com/office/officeart/2005/8/layout/lProcess1"/>
    <dgm:cxn modelId="{76E420C1-2F7B-4D10-9115-05BEFFCC072B}" type="presParOf" srcId="{BDB444FE-D103-49BE-83CD-D42E04F4C555}" destId="{47342054-9B65-4F61-8E1B-71781FBE851A}" srcOrd="2" destOrd="0" presId="urn:microsoft.com/office/officeart/2005/8/layout/lProcess1"/>
    <dgm:cxn modelId="{57FB098F-6F1B-467B-89AE-2116430B0E60}" type="presParOf" srcId="{47342054-9B65-4F61-8E1B-71781FBE851A}" destId="{64155B52-047E-4560-BB40-B25EC0AA65C4}" srcOrd="0" destOrd="0" presId="urn:microsoft.com/office/officeart/2005/8/layout/lProcess1"/>
    <dgm:cxn modelId="{B65FE0AF-3436-43BF-BF1E-DDD5A4668FF2}" type="presParOf" srcId="{47342054-9B65-4F61-8E1B-71781FBE851A}" destId="{9E4D400B-BCE9-4D0C-A34C-DE0BC15734C5}" srcOrd="1" destOrd="0" presId="urn:microsoft.com/office/officeart/2005/8/layout/lProcess1"/>
    <dgm:cxn modelId="{D8115799-0917-4E94-B0EC-6383B7358601}" type="presParOf" srcId="{47342054-9B65-4F61-8E1B-71781FBE851A}" destId="{4F692ADB-84C4-4CD2-87D5-39893A59D786}" srcOrd="2" destOrd="0" presId="urn:microsoft.com/office/officeart/2005/8/layout/lProcess1"/>
    <dgm:cxn modelId="{775943A6-D0CE-4D1F-9324-42F3026DFC9C}" type="presParOf" srcId="{47342054-9B65-4F61-8E1B-71781FBE851A}" destId="{1F916FB7-DB34-427E-9619-60836B697D2F}" srcOrd="3" destOrd="0" presId="urn:microsoft.com/office/officeart/2005/8/layout/lProcess1"/>
    <dgm:cxn modelId="{CF863FBC-B096-40EA-AB15-8E4DD991F4B0}" type="presParOf" srcId="{47342054-9B65-4F61-8E1B-71781FBE851A}" destId="{01FE48E7-DA79-44CE-9E5B-C4457B1961F3}" srcOrd="4" destOrd="0" presId="urn:microsoft.com/office/officeart/2005/8/layout/lProcess1"/>
    <dgm:cxn modelId="{8B9AD0EA-32EC-4960-AAD3-7DFB70ADD87F}" type="presParOf" srcId="{47342054-9B65-4F61-8E1B-71781FBE851A}" destId="{5386EA9B-D0A8-41E2-AD2C-A7B41F0400A9}" srcOrd="5" destOrd="0" presId="urn:microsoft.com/office/officeart/2005/8/layout/lProcess1"/>
    <dgm:cxn modelId="{F9CF305B-3F4E-472C-998D-3537946971BA}" type="presParOf" srcId="{47342054-9B65-4F61-8E1B-71781FBE851A}" destId="{07A2BBFB-776C-48DF-88D5-D0567F70D4CA}" srcOrd="6" destOrd="0" presId="urn:microsoft.com/office/officeart/2005/8/layout/l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1E1DF0C-A459-49AA-8F8D-34E69D8DBE3E}" type="doc">
      <dgm:prSet loTypeId="urn:microsoft.com/office/officeart/2005/8/layout/lProcess1" loCatId="process" qsTypeId="urn:microsoft.com/office/officeart/2005/8/quickstyle/simple1" qsCatId="simple" csTypeId="urn:microsoft.com/office/officeart/2005/8/colors/colorful3" csCatId="colorful" phldr="1"/>
      <dgm:spPr/>
      <dgm:t>
        <a:bodyPr/>
        <a:lstStyle/>
        <a:p>
          <a:endParaRPr lang="en-US"/>
        </a:p>
      </dgm:t>
    </dgm:pt>
    <dgm:pt modelId="{968D47F0-A487-418E-B923-34CD3BED85C9}">
      <dgm:prSet custT="1"/>
      <dgm:spPr/>
      <dgm:t>
        <a:bodyPr/>
        <a:lstStyle/>
        <a:p>
          <a:r>
            <a:rPr lang="en-US" sz="2000" b="0" dirty="0"/>
            <a:t>Module 5: SQL Server Query Execution and Plans</a:t>
          </a:r>
        </a:p>
      </dgm:t>
    </dgm:pt>
    <dgm:pt modelId="{955BA8EA-5BF7-4D6E-86F8-7645E2D5A339}" type="parTrans" cxnId="{DC36FF75-A64D-43C5-B8ED-B87096F8B12C}">
      <dgm:prSet/>
      <dgm:spPr/>
      <dgm:t>
        <a:bodyPr/>
        <a:lstStyle/>
        <a:p>
          <a:endParaRPr lang="en-US"/>
        </a:p>
      </dgm:t>
    </dgm:pt>
    <dgm:pt modelId="{FBB7AE93-FB90-4208-83AD-69184FA60492}" type="sibTrans" cxnId="{DC36FF75-A64D-43C5-B8ED-B87096F8B12C}">
      <dgm:prSet/>
      <dgm:spPr/>
      <dgm:t>
        <a:bodyPr/>
        <a:lstStyle/>
        <a:p>
          <a:endParaRPr lang="en-US"/>
        </a:p>
      </dgm:t>
    </dgm:pt>
    <dgm:pt modelId="{0E8FA76E-3753-489F-9671-C18DF097B5BF}">
      <dgm:prSet custT="1"/>
      <dgm:spPr/>
      <dgm:t>
        <a:bodyPr/>
        <a:lstStyle/>
        <a:p>
          <a:r>
            <a:rPr lang="en-US" sz="2000" b="0" dirty="0"/>
            <a:t>SQL Server Query Execution and Plan Analysis</a:t>
          </a:r>
        </a:p>
      </dgm:t>
    </dgm:pt>
    <dgm:pt modelId="{82755EFB-BF9B-4E9B-9F17-5C810D36FDEC}" type="parTrans" cxnId="{F1CC9F21-86D7-4F08-BF07-619FB0D54D4D}">
      <dgm:prSet/>
      <dgm:spPr/>
      <dgm:t>
        <a:bodyPr/>
        <a:lstStyle/>
        <a:p>
          <a:endParaRPr lang="en-US"/>
        </a:p>
      </dgm:t>
    </dgm:pt>
    <dgm:pt modelId="{765CEB77-6A33-41D1-B83B-0222B55F6ADC}" type="sibTrans" cxnId="{F1CC9F21-86D7-4F08-BF07-619FB0D54D4D}">
      <dgm:prSet/>
      <dgm:spPr/>
      <dgm:t>
        <a:bodyPr/>
        <a:lstStyle/>
        <a:p>
          <a:endParaRPr lang="en-US"/>
        </a:p>
      </dgm:t>
    </dgm:pt>
    <dgm:pt modelId="{49761104-4867-4EB3-8A60-1693E1966369}">
      <dgm:prSet custT="1"/>
      <dgm:spPr/>
      <dgm:t>
        <a:bodyPr/>
        <a:lstStyle/>
        <a:p>
          <a:r>
            <a:rPr lang="en-US" sz="2000" b="0" dirty="0"/>
            <a:t>SQL Server Plan Cache Internals</a:t>
          </a:r>
        </a:p>
      </dgm:t>
    </dgm:pt>
    <dgm:pt modelId="{7368B0EE-6359-4863-BB18-4B79C5A8A32A}" type="parTrans" cxnId="{1D63E326-ACCE-46C8-883C-C50D94B978FE}">
      <dgm:prSet/>
      <dgm:spPr/>
      <dgm:t>
        <a:bodyPr/>
        <a:lstStyle/>
        <a:p>
          <a:endParaRPr lang="en-US"/>
        </a:p>
      </dgm:t>
    </dgm:pt>
    <dgm:pt modelId="{12371027-2AC5-41AB-B78F-5B109823ABD5}" type="sibTrans" cxnId="{1D63E326-ACCE-46C8-883C-C50D94B978FE}">
      <dgm:prSet/>
      <dgm:spPr/>
      <dgm:t>
        <a:bodyPr/>
        <a:lstStyle/>
        <a:p>
          <a:endParaRPr lang="en-US"/>
        </a:p>
      </dgm:t>
    </dgm:pt>
    <dgm:pt modelId="{6BEE2963-3A9D-4388-81B8-8D648E9E7790}">
      <dgm:prSet custT="1"/>
      <dgm:spPr/>
      <dgm:t>
        <a:bodyPr/>
        <a:lstStyle/>
        <a:p>
          <a:r>
            <a:rPr lang="en-US" sz="2000" b="0" dirty="0"/>
            <a:t>Troubleshooting with Query Store</a:t>
          </a:r>
        </a:p>
      </dgm:t>
    </dgm:pt>
    <dgm:pt modelId="{3B133D76-A302-4FB5-81ED-F1AB9BA05C00}" type="parTrans" cxnId="{461876DB-182C-4AE7-8294-3AC6075A9323}">
      <dgm:prSet/>
      <dgm:spPr/>
      <dgm:t>
        <a:bodyPr/>
        <a:lstStyle/>
        <a:p>
          <a:endParaRPr lang="en-US"/>
        </a:p>
      </dgm:t>
    </dgm:pt>
    <dgm:pt modelId="{2285D3AA-E1AF-45A7-8D87-3CA5D01BE93B}" type="sibTrans" cxnId="{461876DB-182C-4AE7-8294-3AC6075A9323}">
      <dgm:prSet/>
      <dgm:spPr/>
      <dgm:t>
        <a:bodyPr/>
        <a:lstStyle/>
        <a:p>
          <a:endParaRPr lang="en-US"/>
        </a:p>
      </dgm:t>
    </dgm:pt>
    <dgm:pt modelId="{26BDF89B-9039-4676-9C1F-53F0B3027603}">
      <dgm:prSet custT="1"/>
      <dgm:spPr/>
      <dgm:t>
        <a:bodyPr/>
        <a:lstStyle/>
        <a:p>
          <a:r>
            <a:rPr lang="en-US" sz="2000" b="0" dirty="0"/>
            <a:t>Module 6: Azure SQL Performance Tuning</a:t>
          </a:r>
        </a:p>
      </dgm:t>
    </dgm:pt>
    <dgm:pt modelId="{A356C7C9-A4E9-4C52-829E-8ECC43C45C4E}" type="parTrans" cxnId="{0E0B2FFF-1A02-4F60-874E-13AAC69A7223}">
      <dgm:prSet/>
      <dgm:spPr/>
      <dgm:t>
        <a:bodyPr/>
        <a:lstStyle/>
        <a:p>
          <a:endParaRPr lang="en-US"/>
        </a:p>
      </dgm:t>
    </dgm:pt>
    <dgm:pt modelId="{0A31CC97-DC35-475F-8925-2691AE87E44F}" type="sibTrans" cxnId="{0E0B2FFF-1A02-4F60-874E-13AAC69A7223}">
      <dgm:prSet/>
      <dgm:spPr/>
      <dgm:t>
        <a:bodyPr/>
        <a:lstStyle/>
        <a:p>
          <a:endParaRPr lang="en-US"/>
        </a:p>
      </dgm:t>
    </dgm:pt>
    <dgm:pt modelId="{D1DA7FC2-E401-4D5F-B878-4AC1D1963E31}">
      <dgm:prSet custT="1"/>
      <dgm:spPr/>
      <dgm:t>
        <a:bodyPr/>
        <a:lstStyle/>
        <a:p>
          <a:r>
            <a:rPr lang="en-US" sz="2000" b="0" dirty="0"/>
            <a:t>Query Performance Insights</a:t>
          </a:r>
        </a:p>
      </dgm:t>
    </dgm:pt>
    <dgm:pt modelId="{1B05DEE8-33C8-4503-8AA1-884042387C2F}" type="parTrans" cxnId="{F6489D14-A31C-46C5-A0DE-DE2D60147EF8}">
      <dgm:prSet/>
      <dgm:spPr/>
      <dgm:t>
        <a:bodyPr/>
        <a:lstStyle/>
        <a:p>
          <a:endParaRPr lang="en-US"/>
        </a:p>
      </dgm:t>
    </dgm:pt>
    <dgm:pt modelId="{923A0E32-EFF0-441B-AC78-A19774358400}" type="sibTrans" cxnId="{F6489D14-A31C-46C5-A0DE-DE2D60147EF8}">
      <dgm:prSet/>
      <dgm:spPr/>
      <dgm:t>
        <a:bodyPr/>
        <a:lstStyle/>
        <a:p>
          <a:endParaRPr lang="en-US"/>
        </a:p>
      </dgm:t>
    </dgm:pt>
    <dgm:pt modelId="{BD838003-9405-4F5E-B3FF-7B06157331D3}">
      <dgm:prSet custT="1"/>
      <dgm:spPr/>
      <dgm:t>
        <a:bodyPr/>
        <a:lstStyle/>
        <a:p>
          <a:r>
            <a:rPr lang="en-US" sz="2000" b="0" dirty="0"/>
            <a:t>Automatic Tuning in Azure SQL</a:t>
          </a:r>
        </a:p>
      </dgm:t>
    </dgm:pt>
    <dgm:pt modelId="{FA597B63-7679-416D-83F9-7FC4B5185EB1}" type="parTrans" cxnId="{5619F985-9A7F-493B-B346-E084C84A5726}">
      <dgm:prSet/>
      <dgm:spPr/>
      <dgm:t>
        <a:bodyPr/>
        <a:lstStyle/>
        <a:p>
          <a:endParaRPr lang="en-US"/>
        </a:p>
      </dgm:t>
    </dgm:pt>
    <dgm:pt modelId="{8B6534DF-AE60-4C05-B6AA-4F9D7D85FCD4}" type="sibTrans" cxnId="{5619F985-9A7F-493B-B346-E084C84A5726}">
      <dgm:prSet/>
      <dgm:spPr/>
      <dgm:t>
        <a:bodyPr/>
        <a:lstStyle/>
        <a:p>
          <a:endParaRPr lang="en-US"/>
        </a:p>
      </dgm:t>
    </dgm:pt>
    <dgm:pt modelId="{B278BDC7-C0C1-452F-8926-6F4F0035AF39}" type="pres">
      <dgm:prSet presAssocID="{01E1DF0C-A459-49AA-8F8D-34E69D8DBE3E}" presName="Name0" presStyleCnt="0">
        <dgm:presLayoutVars>
          <dgm:dir/>
          <dgm:animLvl val="lvl"/>
          <dgm:resizeHandles val="exact"/>
        </dgm:presLayoutVars>
      </dgm:prSet>
      <dgm:spPr/>
    </dgm:pt>
    <dgm:pt modelId="{409844B6-56B4-49B3-B37B-E1DAE25F5B24}" type="pres">
      <dgm:prSet presAssocID="{968D47F0-A487-418E-B923-34CD3BED85C9}" presName="vertFlow" presStyleCnt="0"/>
      <dgm:spPr/>
    </dgm:pt>
    <dgm:pt modelId="{83374E5D-014F-4D8E-9D66-846D06E8699C}" type="pres">
      <dgm:prSet presAssocID="{968D47F0-A487-418E-B923-34CD3BED85C9}" presName="header" presStyleLbl="node1" presStyleIdx="0" presStyleCnt="2"/>
      <dgm:spPr/>
    </dgm:pt>
    <dgm:pt modelId="{A55F77FF-F5BC-472B-AAA0-C96199F4C838}" type="pres">
      <dgm:prSet presAssocID="{82755EFB-BF9B-4E9B-9F17-5C810D36FDEC}" presName="parTrans" presStyleLbl="sibTrans2D1" presStyleIdx="0" presStyleCnt="5"/>
      <dgm:spPr/>
    </dgm:pt>
    <dgm:pt modelId="{A4F57449-9FF4-43C5-A692-6ADF1CCBD350}" type="pres">
      <dgm:prSet presAssocID="{0E8FA76E-3753-489F-9671-C18DF097B5BF}" presName="child" presStyleLbl="alignAccFollowNode1" presStyleIdx="0" presStyleCnt="5">
        <dgm:presLayoutVars>
          <dgm:chMax val="0"/>
          <dgm:bulletEnabled val="1"/>
        </dgm:presLayoutVars>
      </dgm:prSet>
      <dgm:spPr/>
    </dgm:pt>
    <dgm:pt modelId="{4C2749C4-30E4-4198-ADED-06066016BC45}" type="pres">
      <dgm:prSet presAssocID="{765CEB77-6A33-41D1-B83B-0222B55F6ADC}" presName="sibTrans" presStyleLbl="sibTrans2D1" presStyleIdx="1" presStyleCnt="5"/>
      <dgm:spPr/>
    </dgm:pt>
    <dgm:pt modelId="{95CCDD5C-A3E9-4381-82B3-6F2C14527225}" type="pres">
      <dgm:prSet presAssocID="{49761104-4867-4EB3-8A60-1693E1966369}" presName="child" presStyleLbl="alignAccFollowNode1" presStyleIdx="1" presStyleCnt="5">
        <dgm:presLayoutVars>
          <dgm:chMax val="0"/>
          <dgm:bulletEnabled val="1"/>
        </dgm:presLayoutVars>
      </dgm:prSet>
      <dgm:spPr/>
    </dgm:pt>
    <dgm:pt modelId="{58C4C3AD-632A-4F42-9D36-58E702C7A651}" type="pres">
      <dgm:prSet presAssocID="{12371027-2AC5-41AB-B78F-5B109823ABD5}" presName="sibTrans" presStyleLbl="sibTrans2D1" presStyleIdx="2" presStyleCnt="5"/>
      <dgm:spPr/>
    </dgm:pt>
    <dgm:pt modelId="{95FBA2C0-D334-4CDB-A700-348EFD22A478}" type="pres">
      <dgm:prSet presAssocID="{6BEE2963-3A9D-4388-81B8-8D648E9E7790}" presName="child" presStyleLbl="alignAccFollowNode1" presStyleIdx="2" presStyleCnt="5">
        <dgm:presLayoutVars>
          <dgm:chMax val="0"/>
          <dgm:bulletEnabled val="1"/>
        </dgm:presLayoutVars>
      </dgm:prSet>
      <dgm:spPr/>
    </dgm:pt>
    <dgm:pt modelId="{14933B34-DB96-416F-817F-FFA90DBAC24F}" type="pres">
      <dgm:prSet presAssocID="{968D47F0-A487-418E-B923-34CD3BED85C9}" presName="hSp" presStyleCnt="0"/>
      <dgm:spPr/>
    </dgm:pt>
    <dgm:pt modelId="{0E28FEB4-3548-4F2E-9C20-A15EC33A8589}" type="pres">
      <dgm:prSet presAssocID="{26BDF89B-9039-4676-9C1F-53F0B3027603}" presName="vertFlow" presStyleCnt="0"/>
      <dgm:spPr/>
    </dgm:pt>
    <dgm:pt modelId="{51C5E717-F36A-401B-B684-D563E352F8A8}" type="pres">
      <dgm:prSet presAssocID="{26BDF89B-9039-4676-9C1F-53F0B3027603}" presName="header" presStyleLbl="node1" presStyleIdx="1" presStyleCnt="2"/>
      <dgm:spPr/>
    </dgm:pt>
    <dgm:pt modelId="{5F585CCB-F7EA-4B31-8858-DD5052C97165}" type="pres">
      <dgm:prSet presAssocID="{1B05DEE8-33C8-4503-8AA1-884042387C2F}" presName="parTrans" presStyleLbl="sibTrans2D1" presStyleIdx="3" presStyleCnt="5"/>
      <dgm:spPr/>
    </dgm:pt>
    <dgm:pt modelId="{B6F91476-7CF1-43E4-8A87-9A29A11AF339}" type="pres">
      <dgm:prSet presAssocID="{D1DA7FC2-E401-4D5F-B878-4AC1D1963E31}" presName="child" presStyleLbl="alignAccFollowNode1" presStyleIdx="3" presStyleCnt="5">
        <dgm:presLayoutVars>
          <dgm:chMax val="0"/>
          <dgm:bulletEnabled val="1"/>
        </dgm:presLayoutVars>
      </dgm:prSet>
      <dgm:spPr/>
    </dgm:pt>
    <dgm:pt modelId="{FC7D9924-4F47-484E-960A-9D9EFC5A6C7F}" type="pres">
      <dgm:prSet presAssocID="{923A0E32-EFF0-441B-AC78-A19774358400}" presName="sibTrans" presStyleLbl="sibTrans2D1" presStyleIdx="4" presStyleCnt="5"/>
      <dgm:spPr/>
    </dgm:pt>
    <dgm:pt modelId="{434444C6-5EFC-46C7-8051-9BB9490B9F5A}" type="pres">
      <dgm:prSet presAssocID="{BD838003-9405-4F5E-B3FF-7B06157331D3}" presName="child" presStyleLbl="alignAccFollowNode1" presStyleIdx="4" presStyleCnt="5">
        <dgm:presLayoutVars>
          <dgm:chMax val="0"/>
          <dgm:bulletEnabled val="1"/>
        </dgm:presLayoutVars>
      </dgm:prSet>
      <dgm:spPr/>
    </dgm:pt>
  </dgm:ptLst>
  <dgm:cxnLst>
    <dgm:cxn modelId="{BB17AD04-B695-4971-9BBF-7B630EC51B6E}" type="presOf" srcId="{968D47F0-A487-418E-B923-34CD3BED85C9}" destId="{83374E5D-014F-4D8E-9D66-846D06E8699C}" srcOrd="0" destOrd="0" presId="urn:microsoft.com/office/officeart/2005/8/layout/lProcess1"/>
    <dgm:cxn modelId="{F6489D14-A31C-46C5-A0DE-DE2D60147EF8}" srcId="{26BDF89B-9039-4676-9C1F-53F0B3027603}" destId="{D1DA7FC2-E401-4D5F-B878-4AC1D1963E31}" srcOrd="0" destOrd="0" parTransId="{1B05DEE8-33C8-4503-8AA1-884042387C2F}" sibTransId="{923A0E32-EFF0-441B-AC78-A19774358400}"/>
    <dgm:cxn modelId="{876A681B-911B-4BD8-84C1-1D3DE3CA8622}" type="presOf" srcId="{49761104-4867-4EB3-8A60-1693E1966369}" destId="{95CCDD5C-A3E9-4381-82B3-6F2C14527225}" srcOrd="0" destOrd="0" presId="urn:microsoft.com/office/officeart/2005/8/layout/lProcess1"/>
    <dgm:cxn modelId="{F1CC9F21-86D7-4F08-BF07-619FB0D54D4D}" srcId="{968D47F0-A487-418E-B923-34CD3BED85C9}" destId="{0E8FA76E-3753-489F-9671-C18DF097B5BF}" srcOrd="0" destOrd="0" parTransId="{82755EFB-BF9B-4E9B-9F17-5C810D36FDEC}" sibTransId="{765CEB77-6A33-41D1-B83B-0222B55F6ADC}"/>
    <dgm:cxn modelId="{1D63E326-ACCE-46C8-883C-C50D94B978FE}" srcId="{968D47F0-A487-418E-B923-34CD3BED85C9}" destId="{49761104-4867-4EB3-8A60-1693E1966369}" srcOrd="1" destOrd="0" parTransId="{7368B0EE-6359-4863-BB18-4B79C5A8A32A}" sibTransId="{12371027-2AC5-41AB-B78F-5B109823ABD5}"/>
    <dgm:cxn modelId="{8ED5413D-EF3E-41F7-8DDA-CC163CCE3347}" type="presOf" srcId="{6BEE2963-3A9D-4388-81B8-8D648E9E7790}" destId="{95FBA2C0-D334-4CDB-A700-348EFD22A478}" srcOrd="0" destOrd="0" presId="urn:microsoft.com/office/officeart/2005/8/layout/lProcess1"/>
    <dgm:cxn modelId="{E4CF675C-32C9-4D04-878C-9C96F330FC32}" type="presOf" srcId="{0E8FA76E-3753-489F-9671-C18DF097B5BF}" destId="{A4F57449-9FF4-43C5-A692-6ADF1CCBD350}" srcOrd="0" destOrd="0" presId="urn:microsoft.com/office/officeart/2005/8/layout/lProcess1"/>
    <dgm:cxn modelId="{0E743772-ECED-452D-9FE8-A6E75458A2FF}" type="presOf" srcId="{1B05DEE8-33C8-4503-8AA1-884042387C2F}" destId="{5F585CCB-F7EA-4B31-8858-DD5052C97165}" srcOrd="0" destOrd="0" presId="urn:microsoft.com/office/officeart/2005/8/layout/lProcess1"/>
    <dgm:cxn modelId="{DC36FF75-A64D-43C5-B8ED-B87096F8B12C}" srcId="{01E1DF0C-A459-49AA-8F8D-34E69D8DBE3E}" destId="{968D47F0-A487-418E-B923-34CD3BED85C9}" srcOrd="0" destOrd="0" parTransId="{955BA8EA-5BF7-4D6E-86F8-7645E2D5A339}" sibTransId="{FBB7AE93-FB90-4208-83AD-69184FA60492}"/>
    <dgm:cxn modelId="{9CC0F17E-3B2A-4368-8BF5-C8890B4AEACA}" type="presOf" srcId="{01E1DF0C-A459-49AA-8F8D-34E69D8DBE3E}" destId="{B278BDC7-C0C1-452F-8926-6F4F0035AF39}" srcOrd="0" destOrd="0" presId="urn:microsoft.com/office/officeart/2005/8/layout/lProcess1"/>
    <dgm:cxn modelId="{7F465680-FBBC-4364-A4FF-184F93DE46CA}" type="presOf" srcId="{D1DA7FC2-E401-4D5F-B878-4AC1D1963E31}" destId="{B6F91476-7CF1-43E4-8A87-9A29A11AF339}" srcOrd="0" destOrd="0" presId="urn:microsoft.com/office/officeart/2005/8/layout/lProcess1"/>
    <dgm:cxn modelId="{5619F985-9A7F-493B-B346-E084C84A5726}" srcId="{26BDF89B-9039-4676-9C1F-53F0B3027603}" destId="{BD838003-9405-4F5E-B3FF-7B06157331D3}" srcOrd="1" destOrd="0" parTransId="{FA597B63-7679-416D-83F9-7FC4B5185EB1}" sibTransId="{8B6534DF-AE60-4C05-B6AA-4F9D7D85FCD4}"/>
    <dgm:cxn modelId="{4FB39DA9-CE9D-46C7-A081-5E153390EC66}" type="presOf" srcId="{765CEB77-6A33-41D1-B83B-0222B55F6ADC}" destId="{4C2749C4-30E4-4198-ADED-06066016BC45}" srcOrd="0" destOrd="0" presId="urn:microsoft.com/office/officeart/2005/8/layout/lProcess1"/>
    <dgm:cxn modelId="{5B82BCA9-E21C-4B46-B733-E1B752B13A55}" type="presOf" srcId="{82755EFB-BF9B-4E9B-9F17-5C810D36FDEC}" destId="{A55F77FF-F5BC-472B-AAA0-C96199F4C838}" srcOrd="0" destOrd="0" presId="urn:microsoft.com/office/officeart/2005/8/layout/lProcess1"/>
    <dgm:cxn modelId="{E64535CD-C525-4119-9767-1857FB39DFC2}" type="presOf" srcId="{12371027-2AC5-41AB-B78F-5B109823ABD5}" destId="{58C4C3AD-632A-4F42-9D36-58E702C7A651}" srcOrd="0" destOrd="0" presId="urn:microsoft.com/office/officeart/2005/8/layout/lProcess1"/>
    <dgm:cxn modelId="{461876DB-182C-4AE7-8294-3AC6075A9323}" srcId="{968D47F0-A487-418E-B923-34CD3BED85C9}" destId="{6BEE2963-3A9D-4388-81B8-8D648E9E7790}" srcOrd="2" destOrd="0" parTransId="{3B133D76-A302-4FB5-81ED-F1AB9BA05C00}" sibTransId="{2285D3AA-E1AF-45A7-8D87-3CA5D01BE93B}"/>
    <dgm:cxn modelId="{B2A18DDB-B8B7-4387-87FF-068BA27E06FC}" type="presOf" srcId="{26BDF89B-9039-4676-9C1F-53F0B3027603}" destId="{51C5E717-F36A-401B-B684-D563E352F8A8}" srcOrd="0" destOrd="0" presId="urn:microsoft.com/office/officeart/2005/8/layout/lProcess1"/>
    <dgm:cxn modelId="{416E95DF-2664-48E6-AEF2-2EFD6E0C7F9C}" type="presOf" srcId="{BD838003-9405-4F5E-B3FF-7B06157331D3}" destId="{434444C6-5EFC-46C7-8051-9BB9490B9F5A}" srcOrd="0" destOrd="0" presId="urn:microsoft.com/office/officeart/2005/8/layout/lProcess1"/>
    <dgm:cxn modelId="{6E15A9EB-D8E6-4EED-BC1D-A869B8D47DAB}" type="presOf" srcId="{923A0E32-EFF0-441B-AC78-A19774358400}" destId="{FC7D9924-4F47-484E-960A-9D9EFC5A6C7F}" srcOrd="0" destOrd="0" presId="urn:microsoft.com/office/officeart/2005/8/layout/lProcess1"/>
    <dgm:cxn modelId="{0E0B2FFF-1A02-4F60-874E-13AAC69A7223}" srcId="{01E1DF0C-A459-49AA-8F8D-34E69D8DBE3E}" destId="{26BDF89B-9039-4676-9C1F-53F0B3027603}" srcOrd="1" destOrd="0" parTransId="{A356C7C9-A4E9-4C52-829E-8ECC43C45C4E}" sibTransId="{0A31CC97-DC35-475F-8925-2691AE87E44F}"/>
    <dgm:cxn modelId="{D3EDEECA-4AFA-4A9A-9220-57A57DDD395D}" type="presParOf" srcId="{B278BDC7-C0C1-452F-8926-6F4F0035AF39}" destId="{409844B6-56B4-49B3-B37B-E1DAE25F5B24}" srcOrd="0" destOrd="0" presId="urn:microsoft.com/office/officeart/2005/8/layout/lProcess1"/>
    <dgm:cxn modelId="{10A341A9-32BA-46D9-AFA9-044F432203EF}" type="presParOf" srcId="{409844B6-56B4-49B3-B37B-E1DAE25F5B24}" destId="{83374E5D-014F-4D8E-9D66-846D06E8699C}" srcOrd="0" destOrd="0" presId="urn:microsoft.com/office/officeart/2005/8/layout/lProcess1"/>
    <dgm:cxn modelId="{E3008225-52D7-4184-B806-729319D5AD5B}" type="presParOf" srcId="{409844B6-56B4-49B3-B37B-E1DAE25F5B24}" destId="{A55F77FF-F5BC-472B-AAA0-C96199F4C838}" srcOrd="1" destOrd="0" presId="urn:microsoft.com/office/officeart/2005/8/layout/lProcess1"/>
    <dgm:cxn modelId="{113C5AC9-D01B-4871-91D9-150B42A3DA06}" type="presParOf" srcId="{409844B6-56B4-49B3-B37B-E1DAE25F5B24}" destId="{A4F57449-9FF4-43C5-A692-6ADF1CCBD350}" srcOrd="2" destOrd="0" presId="urn:microsoft.com/office/officeart/2005/8/layout/lProcess1"/>
    <dgm:cxn modelId="{3AC85F22-5327-4E58-93F1-35969453A8DC}" type="presParOf" srcId="{409844B6-56B4-49B3-B37B-E1DAE25F5B24}" destId="{4C2749C4-30E4-4198-ADED-06066016BC45}" srcOrd="3" destOrd="0" presId="urn:microsoft.com/office/officeart/2005/8/layout/lProcess1"/>
    <dgm:cxn modelId="{D8D96EF8-E6B9-48E8-95FF-0D9E44935AD3}" type="presParOf" srcId="{409844B6-56B4-49B3-B37B-E1DAE25F5B24}" destId="{95CCDD5C-A3E9-4381-82B3-6F2C14527225}" srcOrd="4" destOrd="0" presId="urn:microsoft.com/office/officeart/2005/8/layout/lProcess1"/>
    <dgm:cxn modelId="{EA76F553-4A99-4612-9275-F741E9A26E2F}" type="presParOf" srcId="{409844B6-56B4-49B3-B37B-E1DAE25F5B24}" destId="{58C4C3AD-632A-4F42-9D36-58E702C7A651}" srcOrd="5" destOrd="0" presId="urn:microsoft.com/office/officeart/2005/8/layout/lProcess1"/>
    <dgm:cxn modelId="{FFBD179D-DBED-43D1-B3D9-76568F8D9F9B}" type="presParOf" srcId="{409844B6-56B4-49B3-B37B-E1DAE25F5B24}" destId="{95FBA2C0-D334-4CDB-A700-348EFD22A478}" srcOrd="6" destOrd="0" presId="urn:microsoft.com/office/officeart/2005/8/layout/lProcess1"/>
    <dgm:cxn modelId="{A08B3B3A-F590-48B6-8176-6BDB8E124593}" type="presParOf" srcId="{B278BDC7-C0C1-452F-8926-6F4F0035AF39}" destId="{14933B34-DB96-416F-817F-FFA90DBAC24F}" srcOrd="1" destOrd="0" presId="urn:microsoft.com/office/officeart/2005/8/layout/lProcess1"/>
    <dgm:cxn modelId="{D8D3D009-D7BC-492E-ADDD-1EABCCBA4B66}" type="presParOf" srcId="{B278BDC7-C0C1-452F-8926-6F4F0035AF39}" destId="{0E28FEB4-3548-4F2E-9C20-A15EC33A8589}" srcOrd="2" destOrd="0" presId="urn:microsoft.com/office/officeart/2005/8/layout/lProcess1"/>
    <dgm:cxn modelId="{C6A23FA0-E637-43E5-8CF6-C26B3E0AE122}" type="presParOf" srcId="{0E28FEB4-3548-4F2E-9C20-A15EC33A8589}" destId="{51C5E717-F36A-401B-B684-D563E352F8A8}" srcOrd="0" destOrd="0" presId="urn:microsoft.com/office/officeart/2005/8/layout/lProcess1"/>
    <dgm:cxn modelId="{F949B318-CDD1-49E0-BA8F-84FECB5B2B68}" type="presParOf" srcId="{0E28FEB4-3548-4F2E-9C20-A15EC33A8589}" destId="{5F585CCB-F7EA-4B31-8858-DD5052C97165}" srcOrd="1" destOrd="0" presId="urn:microsoft.com/office/officeart/2005/8/layout/lProcess1"/>
    <dgm:cxn modelId="{A24616BD-2101-4C3D-9A14-FBE2FC266C61}" type="presParOf" srcId="{0E28FEB4-3548-4F2E-9C20-A15EC33A8589}" destId="{B6F91476-7CF1-43E4-8A87-9A29A11AF339}" srcOrd="2" destOrd="0" presId="urn:microsoft.com/office/officeart/2005/8/layout/lProcess1"/>
    <dgm:cxn modelId="{9E8E6936-E2B9-4741-A7A7-29F99BC2E2CC}" type="presParOf" srcId="{0E28FEB4-3548-4F2E-9C20-A15EC33A8589}" destId="{FC7D9924-4F47-484E-960A-9D9EFC5A6C7F}" srcOrd="3" destOrd="0" presId="urn:microsoft.com/office/officeart/2005/8/layout/lProcess1"/>
    <dgm:cxn modelId="{48B525ED-5B49-459B-8CE5-482EDBD31FD0}" type="presParOf" srcId="{0E28FEB4-3548-4F2E-9C20-A15EC33A8589}" destId="{434444C6-5EFC-46C7-8051-9BB9490B9F5A}" srcOrd="4" destOrd="0" presId="urn:microsoft.com/office/officeart/2005/8/layout/l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D5B2BB-D1B9-432B-BB75-D6F1EA79270D}">
      <dsp:nvSpPr>
        <dsp:cNvPr id="0" name=""/>
        <dsp:cNvSpPr/>
      </dsp:nvSpPr>
      <dsp:spPr>
        <a:xfrm>
          <a:off x="5547" y="0"/>
          <a:ext cx="11350696" cy="5319246"/>
        </a:xfrm>
        <a:prstGeom prst="roundRect">
          <a:avLst>
            <a:gd name="adj" fmla="val 10000"/>
          </a:avLst>
        </a:prstGeom>
        <a:solidFill>
          <a:schemeClr val="lt1">
            <a:hueOff val="0"/>
            <a:satOff val="0"/>
            <a:lumOff val="0"/>
            <a:alphaOff val="0"/>
          </a:schemeClr>
        </a:solidFill>
        <a:ln w="19050" cap="flat" cmpd="sng" algn="ctr">
          <a:solidFill>
            <a:schemeClr val="dk1">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t>Activate Azure SQL Performance Tuning and Optimization offering is intended to educate customers how to optimize their Azure SQL VM performance configurations. The program is designed to educate, to discuss customer needs and test the new features.</a:t>
          </a:r>
        </a:p>
        <a:p>
          <a:pPr marL="0" lvl="0" indent="0" algn="ctr" defTabSz="1422400">
            <a:lnSpc>
              <a:spcPct val="90000"/>
            </a:lnSpc>
            <a:spcBef>
              <a:spcPct val="0"/>
            </a:spcBef>
            <a:spcAft>
              <a:spcPct val="35000"/>
            </a:spcAft>
            <a:buNone/>
          </a:pPr>
          <a:r>
            <a:rPr lang="en-US" sz="3200" kern="1200" dirty="0"/>
            <a:t>This service is not only for DBAs, but also every role that could take advantage of this Activate would participate of this delivery.</a:t>
          </a:r>
        </a:p>
      </dsp:txBody>
      <dsp:txXfrm>
        <a:off x="161342" y="155795"/>
        <a:ext cx="11039106" cy="500765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9382FA-867C-49B2-8B99-FBE01CC5062F}">
      <dsp:nvSpPr>
        <dsp:cNvPr id="0" name=""/>
        <dsp:cNvSpPr/>
      </dsp:nvSpPr>
      <dsp:spPr>
        <a:xfrm>
          <a:off x="852134" y="0"/>
          <a:ext cx="9657523" cy="5319246"/>
        </a:xfrm>
        <a:prstGeom prst="rightArrow">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E9119F8-8490-44E1-9092-BDE3695E8184}">
      <dsp:nvSpPr>
        <dsp:cNvPr id="0" name=""/>
        <dsp:cNvSpPr/>
      </dsp:nvSpPr>
      <dsp:spPr>
        <a:xfrm>
          <a:off x="3883" y="1595773"/>
          <a:ext cx="2523116" cy="2127698"/>
        </a:xfrm>
        <a:prstGeom prst="round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Scoping Call</a:t>
          </a:r>
        </a:p>
      </dsp:txBody>
      <dsp:txXfrm>
        <a:off x="107749" y="1699639"/>
        <a:ext cx="2315384" cy="1919966"/>
      </dsp:txXfrm>
    </dsp:sp>
    <dsp:sp modelId="{8F7B5E93-38AD-4633-AF20-A6D1EA35D330}">
      <dsp:nvSpPr>
        <dsp:cNvPr id="0" name=""/>
        <dsp:cNvSpPr/>
      </dsp:nvSpPr>
      <dsp:spPr>
        <a:xfrm>
          <a:off x="2947519" y="1595773"/>
          <a:ext cx="2523116" cy="2127698"/>
        </a:xfrm>
        <a:prstGeom prst="roundRect">
          <a:avLst/>
        </a:prstGeom>
        <a:solidFill>
          <a:schemeClr val="accent3">
            <a:hueOff val="672623"/>
            <a:satOff val="0"/>
            <a:lumOff val="3333"/>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Font typeface="Symbol" panose="05050102010706020507" pitchFamily="18" charset="2"/>
            <a:buNone/>
          </a:pPr>
          <a:r>
            <a:rPr lang="en-US" sz="2000" kern="1200" dirty="0"/>
            <a:t>Educate</a:t>
          </a:r>
        </a:p>
      </dsp:txBody>
      <dsp:txXfrm>
        <a:off x="3051385" y="1699639"/>
        <a:ext cx="2315384" cy="1919966"/>
      </dsp:txXfrm>
    </dsp:sp>
    <dsp:sp modelId="{F17E8BF9-3628-4C58-8665-4CFBDA0CB6A4}">
      <dsp:nvSpPr>
        <dsp:cNvPr id="0" name=""/>
        <dsp:cNvSpPr/>
      </dsp:nvSpPr>
      <dsp:spPr>
        <a:xfrm>
          <a:off x="5891155" y="1595773"/>
          <a:ext cx="2523116" cy="2127698"/>
        </a:xfrm>
        <a:prstGeom prst="roundRect">
          <a:avLst/>
        </a:prstGeom>
        <a:solidFill>
          <a:schemeClr val="accent3">
            <a:hueOff val="1345247"/>
            <a:satOff val="0"/>
            <a:lumOff val="6667"/>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Font typeface="Symbol" panose="05050102010706020507" pitchFamily="18" charset="2"/>
            <a:buNone/>
          </a:pPr>
          <a:r>
            <a:rPr lang="en-US" sz="2000" kern="1200" dirty="0"/>
            <a:t>Proof of Concept to implement performance features in Azure SQL VM </a:t>
          </a:r>
        </a:p>
      </dsp:txBody>
      <dsp:txXfrm>
        <a:off x="5995021" y="1699639"/>
        <a:ext cx="2315384" cy="1919966"/>
      </dsp:txXfrm>
    </dsp:sp>
    <dsp:sp modelId="{EA939354-CC87-4692-B403-39F625A4153E}">
      <dsp:nvSpPr>
        <dsp:cNvPr id="0" name=""/>
        <dsp:cNvSpPr/>
      </dsp:nvSpPr>
      <dsp:spPr>
        <a:xfrm>
          <a:off x="8834791" y="1595773"/>
          <a:ext cx="2523116" cy="2127698"/>
        </a:xfrm>
        <a:prstGeom prst="roundRect">
          <a:avLst/>
        </a:prstGeom>
        <a:solidFill>
          <a:schemeClr val="accent3">
            <a:hueOff val="2017870"/>
            <a:satOff val="0"/>
            <a:lumOff val="1000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Font typeface="Symbol" panose="05050102010706020507" pitchFamily="18" charset="2"/>
            <a:buNone/>
          </a:pPr>
          <a:r>
            <a:rPr lang="en-US" sz="2000" kern="1200" dirty="0"/>
            <a:t>Close out </a:t>
          </a:r>
        </a:p>
      </dsp:txBody>
      <dsp:txXfrm>
        <a:off x="8938657" y="1699639"/>
        <a:ext cx="2315384" cy="191996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857494-0E01-4108-B101-F9574C10AA28}">
      <dsp:nvSpPr>
        <dsp:cNvPr id="0" name=""/>
        <dsp:cNvSpPr/>
      </dsp:nvSpPr>
      <dsp:spPr>
        <a:xfrm>
          <a:off x="0" y="4004078"/>
          <a:ext cx="11361791" cy="1314227"/>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dirty="0"/>
            <a:t>Is there a current Azure SQL Environment?</a:t>
          </a:r>
        </a:p>
      </dsp:txBody>
      <dsp:txXfrm>
        <a:off x="0" y="4004078"/>
        <a:ext cx="11361791" cy="709682"/>
      </dsp:txXfrm>
    </dsp:sp>
    <dsp:sp modelId="{14EE995A-BC4B-4249-9951-503C0747F5EB}">
      <dsp:nvSpPr>
        <dsp:cNvPr id="0" name=""/>
        <dsp:cNvSpPr/>
      </dsp:nvSpPr>
      <dsp:spPr>
        <a:xfrm>
          <a:off x="5547" y="4687476"/>
          <a:ext cx="3783565" cy="604544"/>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25400" rIns="142240" bIns="25400" numCol="1" spcCol="1270" anchor="ctr" anchorCtr="0">
          <a:noAutofit/>
        </a:bodyPr>
        <a:lstStyle/>
        <a:p>
          <a:pPr marL="0" lvl="0" indent="0" algn="ctr" defTabSz="889000">
            <a:lnSpc>
              <a:spcPct val="90000"/>
            </a:lnSpc>
            <a:spcBef>
              <a:spcPct val="0"/>
            </a:spcBef>
            <a:spcAft>
              <a:spcPct val="35000"/>
            </a:spcAft>
            <a:buNone/>
          </a:pPr>
          <a:r>
            <a:rPr lang="en-US" sz="2000" kern="1200" dirty="0"/>
            <a:t>Azure SQL DB</a:t>
          </a:r>
        </a:p>
      </dsp:txBody>
      <dsp:txXfrm>
        <a:off x="5547" y="4687476"/>
        <a:ext cx="3783565" cy="604544"/>
      </dsp:txXfrm>
    </dsp:sp>
    <dsp:sp modelId="{0F10AC2D-91AE-40CE-BFBA-8D3EE86DD453}">
      <dsp:nvSpPr>
        <dsp:cNvPr id="0" name=""/>
        <dsp:cNvSpPr/>
      </dsp:nvSpPr>
      <dsp:spPr>
        <a:xfrm>
          <a:off x="3789113" y="4687476"/>
          <a:ext cx="3783565" cy="604544"/>
        </a:xfrm>
        <a:prstGeom prst="rect">
          <a:avLst/>
        </a:prstGeom>
        <a:solidFill>
          <a:schemeClr val="accent2">
            <a:tint val="40000"/>
            <a:alpha val="90000"/>
            <a:hueOff val="-1744259"/>
            <a:satOff val="4664"/>
            <a:lumOff val="577"/>
            <a:alphaOff val="0"/>
          </a:schemeClr>
        </a:solidFill>
        <a:ln w="12700" cap="flat" cmpd="sng" algn="ctr">
          <a:solidFill>
            <a:schemeClr val="accent2">
              <a:tint val="40000"/>
              <a:alpha val="90000"/>
              <a:hueOff val="-1744259"/>
              <a:satOff val="4664"/>
              <a:lumOff val="57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25400" rIns="142240" bIns="25400" numCol="1" spcCol="1270" anchor="ctr" anchorCtr="0">
          <a:noAutofit/>
        </a:bodyPr>
        <a:lstStyle/>
        <a:p>
          <a:pPr marL="0" lvl="0" indent="0" algn="ctr" defTabSz="889000">
            <a:lnSpc>
              <a:spcPct val="90000"/>
            </a:lnSpc>
            <a:spcBef>
              <a:spcPct val="0"/>
            </a:spcBef>
            <a:spcAft>
              <a:spcPct val="35000"/>
            </a:spcAft>
            <a:buNone/>
          </a:pPr>
          <a:r>
            <a:rPr lang="en-US" sz="2000" kern="1200" dirty="0"/>
            <a:t>Azure SQL VM</a:t>
          </a:r>
        </a:p>
      </dsp:txBody>
      <dsp:txXfrm>
        <a:off x="3789113" y="4687476"/>
        <a:ext cx="3783565" cy="604544"/>
      </dsp:txXfrm>
    </dsp:sp>
    <dsp:sp modelId="{C94E8FB3-0215-4847-BF2A-34D026196DD9}">
      <dsp:nvSpPr>
        <dsp:cNvPr id="0" name=""/>
        <dsp:cNvSpPr/>
      </dsp:nvSpPr>
      <dsp:spPr>
        <a:xfrm>
          <a:off x="7572678" y="4687476"/>
          <a:ext cx="3783565" cy="604544"/>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25400" rIns="142240" bIns="25400" numCol="1" spcCol="1270" anchor="ctr" anchorCtr="0">
          <a:noAutofit/>
        </a:bodyPr>
        <a:lstStyle/>
        <a:p>
          <a:pPr marL="0" lvl="0" indent="0" algn="ctr" defTabSz="889000">
            <a:lnSpc>
              <a:spcPct val="90000"/>
            </a:lnSpc>
            <a:spcBef>
              <a:spcPct val="0"/>
            </a:spcBef>
            <a:spcAft>
              <a:spcPct val="35000"/>
            </a:spcAft>
            <a:buNone/>
          </a:pPr>
          <a:r>
            <a:rPr lang="en-US" sz="2000" kern="1200" dirty="0"/>
            <a:t>Azure SQL MI</a:t>
          </a:r>
        </a:p>
      </dsp:txBody>
      <dsp:txXfrm>
        <a:off x="7572678" y="4687476"/>
        <a:ext cx="3783565" cy="604544"/>
      </dsp:txXfrm>
    </dsp:sp>
    <dsp:sp modelId="{F508161A-EDA0-439D-B5EB-61E35B13299C}">
      <dsp:nvSpPr>
        <dsp:cNvPr id="0" name=""/>
        <dsp:cNvSpPr/>
      </dsp:nvSpPr>
      <dsp:spPr>
        <a:xfrm rot="10800000">
          <a:off x="0" y="2002509"/>
          <a:ext cx="11361791" cy="2021282"/>
        </a:xfrm>
        <a:prstGeom prst="upArrowCallout">
          <a:avLst/>
        </a:prstGeom>
        <a:solidFill>
          <a:schemeClr val="accent2">
            <a:hueOff val="-1333748"/>
            <a:satOff val="27691"/>
            <a:lumOff val="294"/>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dirty="0"/>
            <a:t>What is the goal for this engagement?</a:t>
          </a:r>
        </a:p>
      </dsp:txBody>
      <dsp:txXfrm rot="10800000">
        <a:off x="0" y="2002509"/>
        <a:ext cx="11361791" cy="1313368"/>
      </dsp:txXfrm>
    </dsp:sp>
    <dsp:sp modelId="{E3226E4C-4029-4C60-A269-FBDB64755859}">
      <dsp:nvSpPr>
        <dsp:cNvPr id="0" name=""/>
        <dsp:cNvSpPr/>
      </dsp:nvSpPr>
      <dsp:spPr>
        <a:xfrm rot="10800000">
          <a:off x="0" y="940"/>
          <a:ext cx="11361791" cy="2021282"/>
        </a:xfrm>
        <a:prstGeom prst="upArrowCallout">
          <a:avLst/>
        </a:prstGeom>
        <a:solidFill>
          <a:schemeClr val="accent2">
            <a:hueOff val="-2667497"/>
            <a:satOff val="55382"/>
            <a:lumOff val="588"/>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dirty="0"/>
            <a:t>What are the days and times for the engagement? </a:t>
          </a:r>
        </a:p>
        <a:p>
          <a:pPr marL="0" lvl="0" indent="0" algn="ctr" defTabSz="889000">
            <a:lnSpc>
              <a:spcPct val="90000"/>
            </a:lnSpc>
            <a:spcBef>
              <a:spcPct val="0"/>
            </a:spcBef>
            <a:spcAft>
              <a:spcPct val="35000"/>
            </a:spcAft>
            <a:buNone/>
          </a:pPr>
          <a:r>
            <a:rPr lang="en-US" sz="2000" kern="1200" dirty="0"/>
            <a:t>(Can be 3 or 4 days)</a:t>
          </a:r>
        </a:p>
      </dsp:txBody>
      <dsp:txXfrm rot="10800000">
        <a:off x="0" y="940"/>
        <a:ext cx="11361791" cy="131336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12B29A-1298-4CA1-B082-DE2EBCBFC842}">
      <dsp:nvSpPr>
        <dsp:cNvPr id="0" name=""/>
        <dsp:cNvSpPr/>
      </dsp:nvSpPr>
      <dsp:spPr>
        <a:xfrm>
          <a:off x="1173198" y="292"/>
          <a:ext cx="4212801" cy="1053200"/>
        </a:xfrm>
        <a:prstGeom prst="roundRect">
          <a:avLst>
            <a:gd name="adj" fmla="val 1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odule 1: Introduction to Azure SQL</a:t>
          </a:r>
        </a:p>
      </dsp:txBody>
      <dsp:txXfrm>
        <a:off x="1204045" y="31139"/>
        <a:ext cx="4151107" cy="991506"/>
      </dsp:txXfrm>
    </dsp:sp>
    <dsp:sp modelId="{BCF584E2-F50C-4956-9C0F-A97B50BF67F9}">
      <dsp:nvSpPr>
        <dsp:cNvPr id="0" name=""/>
        <dsp:cNvSpPr/>
      </dsp:nvSpPr>
      <dsp:spPr>
        <a:xfrm rot="5400000">
          <a:off x="3187444" y="1145647"/>
          <a:ext cx="184310" cy="184310"/>
        </a:xfrm>
        <a:prstGeom prst="rightArrow">
          <a:avLst>
            <a:gd name="adj1" fmla="val 667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01EBAA62-4162-48AC-B487-5E13A5475365}">
      <dsp:nvSpPr>
        <dsp:cNvPr id="0" name=""/>
        <dsp:cNvSpPr/>
      </dsp:nvSpPr>
      <dsp:spPr>
        <a:xfrm>
          <a:off x="1173198" y="1422112"/>
          <a:ext cx="4212801" cy="1053200"/>
        </a:xfrm>
        <a:prstGeom prst="roundRect">
          <a:avLst>
            <a:gd name="adj" fmla="val 10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Basic Concepts of Azure SQL</a:t>
          </a:r>
        </a:p>
      </dsp:txBody>
      <dsp:txXfrm>
        <a:off x="1204045" y="1452959"/>
        <a:ext cx="4151107" cy="991506"/>
      </dsp:txXfrm>
    </dsp:sp>
    <dsp:sp modelId="{F10B6D35-9DDD-4FC3-A9B3-592F3C9A3404}">
      <dsp:nvSpPr>
        <dsp:cNvPr id="0" name=""/>
        <dsp:cNvSpPr/>
      </dsp:nvSpPr>
      <dsp:spPr>
        <a:xfrm rot="5400000">
          <a:off x="3187444" y="2567467"/>
          <a:ext cx="184310" cy="184310"/>
        </a:xfrm>
        <a:prstGeom prst="rightArrow">
          <a:avLst>
            <a:gd name="adj1" fmla="val 66700"/>
            <a:gd name="adj2" fmla="val 50000"/>
          </a:avLst>
        </a:prstGeom>
        <a:solidFill>
          <a:schemeClr val="accent2">
            <a:hueOff val="-666874"/>
            <a:satOff val="13846"/>
            <a:lumOff val="147"/>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70D8A30F-77EC-4296-A31A-59B3BD3FAAA9}">
      <dsp:nvSpPr>
        <dsp:cNvPr id="0" name=""/>
        <dsp:cNvSpPr/>
      </dsp:nvSpPr>
      <dsp:spPr>
        <a:xfrm>
          <a:off x="1173198" y="2843933"/>
          <a:ext cx="4212801" cy="1053200"/>
        </a:xfrm>
        <a:prstGeom prst="roundRect">
          <a:avLst>
            <a:gd name="adj" fmla="val 10000"/>
          </a:avLst>
        </a:prstGeom>
        <a:solidFill>
          <a:schemeClr val="accent2">
            <a:tint val="40000"/>
            <a:alpha val="90000"/>
            <a:hueOff val="-872129"/>
            <a:satOff val="2332"/>
            <a:lumOff val="288"/>
            <a:alphaOff val="0"/>
          </a:schemeClr>
        </a:solidFill>
        <a:ln w="12700" cap="flat" cmpd="sng" algn="ctr">
          <a:solidFill>
            <a:schemeClr val="accent2">
              <a:tint val="40000"/>
              <a:alpha val="90000"/>
              <a:hueOff val="-872129"/>
              <a:satOff val="2332"/>
              <a:lumOff val="2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Azure SQL Databases</a:t>
          </a:r>
        </a:p>
      </dsp:txBody>
      <dsp:txXfrm>
        <a:off x="1204045" y="2874780"/>
        <a:ext cx="4151107" cy="991506"/>
      </dsp:txXfrm>
    </dsp:sp>
    <dsp:sp modelId="{79687A28-7933-40FE-B90E-1BF426CEEBE9}">
      <dsp:nvSpPr>
        <dsp:cNvPr id="0" name=""/>
        <dsp:cNvSpPr/>
      </dsp:nvSpPr>
      <dsp:spPr>
        <a:xfrm>
          <a:off x="5975792" y="292"/>
          <a:ext cx="4212801" cy="1053200"/>
        </a:xfrm>
        <a:prstGeom prst="roundRect">
          <a:avLst>
            <a:gd name="adj" fmla="val 10000"/>
          </a:avLst>
        </a:prstGeom>
        <a:solidFill>
          <a:schemeClr val="accent2">
            <a:hueOff val="-2667497"/>
            <a:satOff val="55382"/>
            <a:lumOff val="588"/>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odule 2: SQL Server Architecture</a:t>
          </a:r>
        </a:p>
      </dsp:txBody>
      <dsp:txXfrm>
        <a:off x="6006639" y="31139"/>
        <a:ext cx="4151107" cy="991506"/>
      </dsp:txXfrm>
    </dsp:sp>
    <dsp:sp modelId="{0024E3D4-969F-4562-B6F1-432DAB602984}">
      <dsp:nvSpPr>
        <dsp:cNvPr id="0" name=""/>
        <dsp:cNvSpPr/>
      </dsp:nvSpPr>
      <dsp:spPr>
        <a:xfrm rot="5400000">
          <a:off x="7990037" y="1145647"/>
          <a:ext cx="184310" cy="184310"/>
        </a:xfrm>
        <a:prstGeom prst="rightArrow">
          <a:avLst>
            <a:gd name="adj1" fmla="val 66700"/>
            <a:gd name="adj2" fmla="val 50000"/>
          </a:avLst>
        </a:prstGeom>
        <a:solidFill>
          <a:schemeClr val="accent2">
            <a:hueOff val="-1333748"/>
            <a:satOff val="27691"/>
            <a:lumOff val="294"/>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A7104F3A-6625-4D19-A900-803AF04F48D1}">
      <dsp:nvSpPr>
        <dsp:cNvPr id="0" name=""/>
        <dsp:cNvSpPr/>
      </dsp:nvSpPr>
      <dsp:spPr>
        <a:xfrm>
          <a:off x="5975792" y="1422112"/>
          <a:ext cx="4212801" cy="1053200"/>
        </a:xfrm>
        <a:prstGeom prst="roundRect">
          <a:avLst>
            <a:gd name="adj" fmla="val 10000"/>
          </a:avLst>
        </a:prstGeom>
        <a:solidFill>
          <a:schemeClr val="accent2">
            <a:tint val="40000"/>
            <a:alpha val="90000"/>
            <a:hueOff val="-1744259"/>
            <a:satOff val="4664"/>
            <a:lumOff val="577"/>
            <a:alphaOff val="0"/>
          </a:schemeClr>
        </a:solidFill>
        <a:ln w="12700" cap="flat" cmpd="sng" algn="ctr">
          <a:solidFill>
            <a:schemeClr val="accent2">
              <a:tint val="40000"/>
              <a:alpha val="90000"/>
              <a:hueOff val="-1744259"/>
              <a:satOff val="4664"/>
              <a:lumOff val="57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QL Operating System</a:t>
          </a:r>
        </a:p>
      </dsp:txBody>
      <dsp:txXfrm>
        <a:off x="6006639" y="1452959"/>
        <a:ext cx="4151107" cy="991506"/>
      </dsp:txXfrm>
    </dsp:sp>
    <dsp:sp modelId="{B668CADA-40A7-4DA8-8557-13CA6A501E83}">
      <dsp:nvSpPr>
        <dsp:cNvPr id="0" name=""/>
        <dsp:cNvSpPr/>
      </dsp:nvSpPr>
      <dsp:spPr>
        <a:xfrm rot="5400000">
          <a:off x="7990037" y="2567467"/>
          <a:ext cx="184310" cy="184310"/>
        </a:xfrm>
        <a:prstGeom prst="rightArrow">
          <a:avLst>
            <a:gd name="adj1" fmla="val 66700"/>
            <a:gd name="adj2" fmla="val 50000"/>
          </a:avLst>
        </a:prstGeom>
        <a:solidFill>
          <a:schemeClr val="accent2">
            <a:hueOff val="-2000623"/>
            <a:satOff val="41537"/>
            <a:lumOff val="441"/>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106C2846-DE02-40A4-A05F-80CAD2B38434}">
      <dsp:nvSpPr>
        <dsp:cNvPr id="0" name=""/>
        <dsp:cNvSpPr/>
      </dsp:nvSpPr>
      <dsp:spPr>
        <a:xfrm>
          <a:off x="5975792" y="2843933"/>
          <a:ext cx="4212801" cy="1053200"/>
        </a:xfrm>
        <a:prstGeom prst="roundRect">
          <a:avLst>
            <a:gd name="adj" fmla="val 10000"/>
          </a:avLst>
        </a:prstGeom>
        <a:solidFill>
          <a:schemeClr val="accent2">
            <a:tint val="40000"/>
            <a:alpha val="90000"/>
            <a:hueOff val="-2616388"/>
            <a:satOff val="6995"/>
            <a:lumOff val="865"/>
            <a:alphaOff val="0"/>
          </a:schemeClr>
        </a:solidFill>
        <a:ln w="12700" cap="flat" cmpd="sng" algn="ctr">
          <a:solidFill>
            <a:schemeClr val="accent2">
              <a:tint val="40000"/>
              <a:alpha val="90000"/>
              <a:hueOff val="-2616388"/>
              <a:satOff val="6995"/>
              <a:lumOff val="86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Waits and Queues</a:t>
          </a:r>
        </a:p>
      </dsp:txBody>
      <dsp:txXfrm>
        <a:off x="6006639" y="2874780"/>
        <a:ext cx="4151107" cy="991506"/>
      </dsp:txXfrm>
    </dsp:sp>
    <dsp:sp modelId="{A9AF6E97-FC79-4B60-9452-AABA18181D1C}">
      <dsp:nvSpPr>
        <dsp:cNvPr id="0" name=""/>
        <dsp:cNvSpPr/>
      </dsp:nvSpPr>
      <dsp:spPr>
        <a:xfrm rot="5400000">
          <a:off x="7990037" y="3989288"/>
          <a:ext cx="184310" cy="184310"/>
        </a:xfrm>
        <a:prstGeom prst="rightArrow">
          <a:avLst>
            <a:gd name="adj1" fmla="val 66700"/>
            <a:gd name="adj2" fmla="val 50000"/>
          </a:avLst>
        </a:prstGeom>
        <a:solidFill>
          <a:schemeClr val="accent2">
            <a:hueOff val="-2667497"/>
            <a:satOff val="55382"/>
            <a:lumOff val="588"/>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B3990292-5692-4F94-8432-F435D523568D}">
      <dsp:nvSpPr>
        <dsp:cNvPr id="0" name=""/>
        <dsp:cNvSpPr/>
      </dsp:nvSpPr>
      <dsp:spPr>
        <a:xfrm>
          <a:off x="5975792" y="4265753"/>
          <a:ext cx="4212801" cy="1053200"/>
        </a:xfrm>
        <a:prstGeom prst="roundRect">
          <a:avLst>
            <a:gd name="adj" fmla="val 10000"/>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Database I/O</a:t>
          </a:r>
        </a:p>
      </dsp:txBody>
      <dsp:txXfrm>
        <a:off x="6006639" y="4296600"/>
        <a:ext cx="4151107" cy="99150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044A40-BF68-4695-84D3-56DF173F8F42}">
      <dsp:nvSpPr>
        <dsp:cNvPr id="0" name=""/>
        <dsp:cNvSpPr/>
      </dsp:nvSpPr>
      <dsp:spPr>
        <a:xfrm>
          <a:off x="1173198" y="292"/>
          <a:ext cx="4212801" cy="1053200"/>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baseline="0" dirty="0"/>
            <a:t>Module 3:  Transactions and Concurrency</a:t>
          </a:r>
        </a:p>
      </dsp:txBody>
      <dsp:txXfrm>
        <a:off x="1204045" y="31139"/>
        <a:ext cx="4151107" cy="991506"/>
      </dsp:txXfrm>
    </dsp:sp>
    <dsp:sp modelId="{217EDA0E-4729-47B3-8156-66D175A0FE16}">
      <dsp:nvSpPr>
        <dsp:cNvPr id="0" name=""/>
        <dsp:cNvSpPr/>
      </dsp:nvSpPr>
      <dsp:spPr>
        <a:xfrm rot="5400000">
          <a:off x="3187444" y="1145647"/>
          <a:ext cx="184310" cy="184310"/>
        </a:xfrm>
        <a:prstGeom prst="rightArrow">
          <a:avLst>
            <a:gd name="adj1" fmla="val 667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D10722C-077A-43D2-8B37-E38CAFCB0F53}">
      <dsp:nvSpPr>
        <dsp:cNvPr id="0" name=""/>
        <dsp:cNvSpPr/>
      </dsp:nvSpPr>
      <dsp:spPr>
        <a:xfrm>
          <a:off x="1173198" y="1422112"/>
          <a:ext cx="4212801" cy="1053200"/>
        </a:xfrm>
        <a:prstGeom prst="roundRect">
          <a:avLst>
            <a:gd name="adj" fmla="val 10000"/>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baseline="0" dirty="0"/>
            <a:t>SQL Server Transactions</a:t>
          </a:r>
        </a:p>
      </dsp:txBody>
      <dsp:txXfrm>
        <a:off x="1204045" y="1452959"/>
        <a:ext cx="4151107" cy="991506"/>
      </dsp:txXfrm>
    </dsp:sp>
    <dsp:sp modelId="{B4C7C0A9-0FC7-43D3-9F18-19E92C3CBFFB}">
      <dsp:nvSpPr>
        <dsp:cNvPr id="0" name=""/>
        <dsp:cNvSpPr/>
      </dsp:nvSpPr>
      <dsp:spPr>
        <a:xfrm rot="5400000">
          <a:off x="3187444" y="2567467"/>
          <a:ext cx="184310" cy="184310"/>
        </a:xfrm>
        <a:prstGeom prst="rightArrow">
          <a:avLst>
            <a:gd name="adj1" fmla="val 66700"/>
            <a:gd name="adj2" fmla="val 50000"/>
          </a:avLst>
        </a:prstGeom>
        <a:solidFill>
          <a:schemeClr val="accent3">
            <a:hueOff val="403574"/>
            <a:satOff val="0"/>
            <a:lumOff val="2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FFCF655-45BC-467D-8C97-273452B9B402}">
      <dsp:nvSpPr>
        <dsp:cNvPr id="0" name=""/>
        <dsp:cNvSpPr/>
      </dsp:nvSpPr>
      <dsp:spPr>
        <a:xfrm>
          <a:off x="1173198" y="2843933"/>
          <a:ext cx="4212801" cy="1053200"/>
        </a:xfrm>
        <a:prstGeom prst="roundRect">
          <a:avLst>
            <a:gd name="adj" fmla="val 10000"/>
          </a:avLst>
        </a:prstGeom>
        <a:solidFill>
          <a:schemeClr val="accent3">
            <a:tint val="40000"/>
            <a:alpha val="90000"/>
            <a:hueOff val="672530"/>
            <a:satOff val="3931"/>
            <a:lumOff val="512"/>
            <a:alphaOff val="0"/>
          </a:schemeClr>
        </a:solidFill>
        <a:ln w="12700" cap="flat" cmpd="sng" algn="ctr">
          <a:solidFill>
            <a:schemeClr val="accent3">
              <a:tint val="40000"/>
              <a:alpha val="90000"/>
              <a:hueOff val="672530"/>
              <a:satOff val="3931"/>
              <a:lumOff val="51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baseline="0" dirty="0"/>
            <a:t>SQL Server Locking</a:t>
          </a:r>
        </a:p>
      </dsp:txBody>
      <dsp:txXfrm>
        <a:off x="1204045" y="2874780"/>
        <a:ext cx="4151107" cy="991506"/>
      </dsp:txXfrm>
    </dsp:sp>
    <dsp:sp modelId="{544AAD2C-E2CF-423C-BFCB-E6F580A4482A}">
      <dsp:nvSpPr>
        <dsp:cNvPr id="0" name=""/>
        <dsp:cNvSpPr/>
      </dsp:nvSpPr>
      <dsp:spPr>
        <a:xfrm rot="5400000">
          <a:off x="3187444" y="3989288"/>
          <a:ext cx="184310" cy="184310"/>
        </a:xfrm>
        <a:prstGeom prst="rightArrow">
          <a:avLst>
            <a:gd name="adj1" fmla="val 66700"/>
            <a:gd name="adj2" fmla="val 50000"/>
          </a:avLst>
        </a:prstGeom>
        <a:solidFill>
          <a:schemeClr val="accent3">
            <a:hueOff val="807148"/>
            <a:satOff val="0"/>
            <a:lumOff val="4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03A4938-5385-4A97-9E7E-ED34C05F4BEE}">
      <dsp:nvSpPr>
        <dsp:cNvPr id="0" name=""/>
        <dsp:cNvSpPr/>
      </dsp:nvSpPr>
      <dsp:spPr>
        <a:xfrm>
          <a:off x="1173198" y="4265753"/>
          <a:ext cx="4212801" cy="1053200"/>
        </a:xfrm>
        <a:prstGeom prst="roundRect">
          <a:avLst>
            <a:gd name="adj" fmla="val 10000"/>
          </a:avLst>
        </a:prstGeom>
        <a:solidFill>
          <a:schemeClr val="accent3">
            <a:tint val="40000"/>
            <a:alpha val="90000"/>
            <a:hueOff val="1345059"/>
            <a:satOff val="7863"/>
            <a:lumOff val="1025"/>
            <a:alphaOff val="0"/>
          </a:schemeClr>
        </a:solidFill>
        <a:ln w="12700" cap="flat" cmpd="sng" algn="ctr">
          <a:solidFill>
            <a:schemeClr val="accent3">
              <a:tint val="40000"/>
              <a:alpha val="90000"/>
              <a:hueOff val="1345059"/>
              <a:satOff val="7863"/>
              <a:lumOff val="102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baseline="0" dirty="0"/>
            <a:t>Blocking and Deadlocking</a:t>
          </a:r>
        </a:p>
      </dsp:txBody>
      <dsp:txXfrm>
        <a:off x="1204045" y="4296600"/>
        <a:ext cx="4151107" cy="991506"/>
      </dsp:txXfrm>
    </dsp:sp>
    <dsp:sp modelId="{64155B52-047E-4560-BB40-B25EC0AA65C4}">
      <dsp:nvSpPr>
        <dsp:cNvPr id="0" name=""/>
        <dsp:cNvSpPr/>
      </dsp:nvSpPr>
      <dsp:spPr>
        <a:xfrm>
          <a:off x="5975792" y="292"/>
          <a:ext cx="4212801" cy="1053200"/>
        </a:xfrm>
        <a:prstGeom prst="roundRect">
          <a:avLst>
            <a:gd name="adj" fmla="val 10000"/>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odule 4: SQL Server Indexing</a:t>
          </a:r>
          <a:endParaRPr lang="en-US" sz="2000" kern="1200" baseline="0" dirty="0"/>
        </a:p>
      </dsp:txBody>
      <dsp:txXfrm>
        <a:off x="6006639" y="31139"/>
        <a:ext cx="4151107" cy="991506"/>
      </dsp:txXfrm>
    </dsp:sp>
    <dsp:sp modelId="{9E4D400B-BCE9-4D0C-A34C-DE0BC15734C5}">
      <dsp:nvSpPr>
        <dsp:cNvPr id="0" name=""/>
        <dsp:cNvSpPr/>
      </dsp:nvSpPr>
      <dsp:spPr>
        <a:xfrm rot="5400000">
          <a:off x="7990037" y="1145647"/>
          <a:ext cx="184310" cy="184310"/>
        </a:xfrm>
        <a:prstGeom prst="rightArrow">
          <a:avLst>
            <a:gd name="adj1" fmla="val 66700"/>
            <a:gd name="adj2" fmla="val 50000"/>
          </a:avLst>
        </a:prstGeom>
        <a:solidFill>
          <a:schemeClr val="accent3">
            <a:hueOff val="1210722"/>
            <a:satOff val="0"/>
            <a:lumOff val="6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F692ADB-84C4-4CD2-87D5-39893A59D786}">
      <dsp:nvSpPr>
        <dsp:cNvPr id="0" name=""/>
        <dsp:cNvSpPr/>
      </dsp:nvSpPr>
      <dsp:spPr>
        <a:xfrm>
          <a:off x="5975792" y="1422112"/>
          <a:ext cx="4212801" cy="1053200"/>
        </a:xfrm>
        <a:prstGeom prst="roundRect">
          <a:avLst>
            <a:gd name="adj" fmla="val 10000"/>
          </a:avLst>
        </a:prstGeom>
        <a:solidFill>
          <a:schemeClr val="accent3">
            <a:tint val="40000"/>
            <a:alpha val="90000"/>
            <a:hueOff val="2017589"/>
            <a:satOff val="11794"/>
            <a:lumOff val="1537"/>
            <a:alphaOff val="0"/>
          </a:schemeClr>
        </a:solidFill>
        <a:ln w="12700" cap="flat" cmpd="sng" algn="ctr">
          <a:solidFill>
            <a:schemeClr val="accent3">
              <a:tint val="40000"/>
              <a:alpha val="90000"/>
              <a:hueOff val="2017589"/>
              <a:satOff val="11794"/>
              <a:lumOff val="153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Indexing Internals and Strategies</a:t>
          </a:r>
        </a:p>
      </dsp:txBody>
      <dsp:txXfrm>
        <a:off x="6006639" y="1452959"/>
        <a:ext cx="4151107" cy="991506"/>
      </dsp:txXfrm>
    </dsp:sp>
    <dsp:sp modelId="{1F916FB7-DB34-427E-9619-60836B697D2F}">
      <dsp:nvSpPr>
        <dsp:cNvPr id="0" name=""/>
        <dsp:cNvSpPr/>
      </dsp:nvSpPr>
      <dsp:spPr>
        <a:xfrm rot="5400000">
          <a:off x="7990037" y="2567467"/>
          <a:ext cx="184310" cy="184310"/>
        </a:xfrm>
        <a:prstGeom prst="rightArrow">
          <a:avLst>
            <a:gd name="adj1" fmla="val 66700"/>
            <a:gd name="adj2" fmla="val 50000"/>
          </a:avLst>
        </a:prstGeom>
        <a:solidFill>
          <a:schemeClr val="accent3">
            <a:hueOff val="1614296"/>
            <a:satOff val="0"/>
            <a:lumOff val="8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1FE48E7-DA79-44CE-9E5B-C4457B1961F3}">
      <dsp:nvSpPr>
        <dsp:cNvPr id="0" name=""/>
        <dsp:cNvSpPr/>
      </dsp:nvSpPr>
      <dsp:spPr>
        <a:xfrm>
          <a:off x="5975792" y="2843933"/>
          <a:ext cx="4212801" cy="1053200"/>
        </a:xfrm>
        <a:prstGeom prst="roundRect">
          <a:avLst>
            <a:gd name="adj" fmla="val 10000"/>
          </a:avLst>
        </a:prstGeom>
        <a:solidFill>
          <a:schemeClr val="accent3">
            <a:tint val="40000"/>
            <a:alpha val="90000"/>
            <a:hueOff val="2690119"/>
            <a:satOff val="15726"/>
            <a:lumOff val="2050"/>
            <a:alphaOff val="0"/>
          </a:schemeClr>
        </a:solidFill>
        <a:ln w="12700" cap="flat" cmpd="sng" algn="ctr">
          <a:solidFill>
            <a:schemeClr val="accent3">
              <a:tint val="40000"/>
              <a:alpha val="90000"/>
              <a:hueOff val="2690119"/>
              <a:satOff val="15726"/>
              <a:lumOff val="205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Index Monitoring and Fragmentation</a:t>
          </a:r>
        </a:p>
      </dsp:txBody>
      <dsp:txXfrm>
        <a:off x="6006639" y="2874780"/>
        <a:ext cx="4151107" cy="991506"/>
      </dsp:txXfrm>
    </dsp:sp>
    <dsp:sp modelId="{5386EA9B-D0A8-41E2-AD2C-A7B41F0400A9}">
      <dsp:nvSpPr>
        <dsp:cNvPr id="0" name=""/>
        <dsp:cNvSpPr/>
      </dsp:nvSpPr>
      <dsp:spPr>
        <a:xfrm rot="5400000">
          <a:off x="7990037" y="3989288"/>
          <a:ext cx="184310" cy="184310"/>
        </a:xfrm>
        <a:prstGeom prst="rightArrow">
          <a:avLst>
            <a:gd name="adj1" fmla="val 66700"/>
            <a:gd name="adj2" fmla="val 50000"/>
          </a:avLst>
        </a:prstGeom>
        <a:solidFill>
          <a:schemeClr val="accent3">
            <a:hueOff val="2017870"/>
            <a:satOff val="0"/>
            <a:lumOff val="10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7A2BBFB-776C-48DF-88D5-D0567F70D4CA}">
      <dsp:nvSpPr>
        <dsp:cNvPr id="0" name=""/>
        <dsp:cNvSpPr/>
      </dsp:nvSpPr>
      <dsp:spPr>
        <a:xfrm>
          <a:off x="5975792" y="4265753"/>
          <a:ext cx="4212801" cy="1053200"/>
        </a:xfrm>
        <a:prstGeom prst="roundRect">
          <a:avLst>
            <a:gd name="adj" fmla="val 10000"/>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tatistics Overview</a:t>
          </a:r>
        </a:p>
      </dsp:txBody>
      <dsp:txXfrm>
        <a:off x="6006639" y="4296600"/>
        <a:ext cx="4151107" cy="99150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374E5D-014F-4D8E-9D66-846D06E8699C}">
      <dsp:nvSpPr>
        <dsp:cNvPr id="0" name=""/>
        <dsp:cNvSpPr/>
      </dsp:nvSpPr>
      <dsp:spPr>
        <a:xfrm>
          <a:off x="1173198" y="292"/>
          <a:ext cx="4212801" cy="1053200"/>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dirty="0"/>
            <a:t>Module 5: SQL Server Query Execution and Plans</a:t>
          </a:r>
        </a:p>
      </dsp:txBody>
      <dsp:txXfrm>
        <a:off x="1204045" y="31139"/>
        <a:ext cx="4151107" cy="991506"/>
      </dsp:txXfrm>
    </dsp:sp>
    <dsp:sp modelId="{A55F77FF-F5BC-472B-AAA0-C96199F4C838}">
      <dsp:nvSpPr>
        <dsp:cNvPr id="0" name=""/>
        <dsp:cNvSpPr/>
      </dsp:nvSpPr>
      <dsp:spPr>
        <a:xfrm rot="5400000">
          <a:off x="3187444" y="1145647"/>
          <a:ext cx="184310" cy="184310"/>
        </a:xfrm>
        <a:prstGeom prst="rightArrow">
          <a:avLst>
            <a:gd name="adj1" fmla="val 667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4F57449-9FF4-43C5-A692-6ADF1CCBD350}">
      <dsp:nvSpPr>
        <dsp:cNvPr id="0" name=""/>
        <dsp:cNvSpPr/>
      </dsp:nvSpPr>
      <dsp:spPr>
        <a:xfrm>
          <a:off x="1173198" y="1422112"/>
          <a:ext cx="4212801" cy="1053200"/>
        </a:xfrm>
        <a:prstGeom prst="roundRect">
          <a:avLst>
            <a:gd name="adj" fmla="val 10000"/>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dirty="0"/>
            <a:t>SQL Server Query Execution and Plan Analysis</a:t>
          </a:r>
        </a:p>
      </dsp:txBody>
      <dsp:txXfrm>
        <a:off x="1204045" y="1452959"/>
        <a:ext cx="4151107" cy="991506"/>
      </dsp:txXfrm>
    </dsp:sp>
    <dsp:sp modelId="{4C2749C4-30E4-4198-ADED-06066016BC45}">
      <dsp:nvSpPr>
        <dsp:cNvPr id="0" name=""/>
        <dsp:cNvSpPr/>
      </dsp:nvSpPr>
      <dsp:spPr>
        <a:xfrm rot="5400000">
          <a:off x="3187444" y="2567467"/>
          <a:ext cx="184310" cy="184310"/>
        </a:xfrm>
        <a:prstGeom prst="rightArrow">
          <a:avLst>
            <a:gd name="adj1" fmla="val 66700"/>
            <a:gd name="adj2" fmla="val 50000"/>
          </a:avLst>
        </a:prstGeom>
        <a:solidFill>
          <a:schemeClr val="accent3">
            <a:hueOff val="504467"/>
            <a:satOff val="0"/>
            <a:lumOff val="25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5CCDD5C-A3E9-4381-82B3-6F2C14527225}">
      <dsp:nvSpPr>
        <dsp:cNvPr id="0" name=""/>
        <dsp:cNvSpPr/>
      </dsp:nvSpPr>
      <dsp:spPr>
        <a:xfrm>
          <a:off x="1173198" y="2843933"/>
          <a:ext cx="4212801" cy="1053200"/>
        </a:xfrm>
        <a:prstGeom prst="roundRect">
          <a:avLst>
            <a:gd name="adj" fmla="val 10000"/>
          </a:avLst>
        </a:prstGeom>
        <a:solidFill>
          <a:schemeClr val="accent3">
            <a:tint val="40000"/>
            <a:alpha val="90000"/>
            <a:hueOff val="840662"/>
            <a:satOff val="4914"/>
            <a:lumOff val="641"/>
            <a:alphaOff val="0"/>
          </a:schemeClr>
        </a:solidFill>
        <a:ln w="12700" cap="flat" cmpd="sng" algn="ctr">
          <a:solidFill>
            <a:schemeClr val="accent3">
              <a:tint val="40000"/>
              <a:alpha val="90000"/>
              <a:hueOff val="840662"/>
              <a:satOff val="4914"/>
              <a:lumOff val="64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dirty="0"/>
            <a:t>SQL Server Plan Cache Internals</a:t>
          </a:r>
        </a:p>
      </dsp:txBody>
      <dsp:txXfrm>
        <a:off x="1204045" y="2874780"/>
        <a:ext cx="4151107" cy="991506"/>
      </dsp:txXfrm>
    </dsp:sp>
    <dsp:sp modelId="{58C4C3AD-632A-4F42-9D36-58E702C7A651}">
      <dsp:nvSpPr>
        <dsp:cNvPr id="0" name=""/>
        <dsp:cNvSpPr/>
      </dsp:nvSpPr>
      <dsp:spPr>
        <a:xfrm rot="5400000">
          <a:off x="3187444" y="3989288"/>
          <a:ext cx="184310" cy="184310"/>
        </a:xfrm>
        <a:prstGeom prst="rightArrow">
          <a:avLst>
            <a:gd name="adj1" fmla="val 66700"/>
            <a:gd name="adj2" fmla="val 50000"/>
          </a:avLst>
        </a:prstGeom>
        <a:solidFill>
          <a:schemeClr val="accent3">
            <a:hueOff val="1008935"/>
            <a:satOff val="0"/>
            <a:lumOff val="5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5FBA2C0-D334-4CDB-A700-348EFD22A478}">
      <dsp:nvSpPr>
        <dsp:cNvPr id="0" name=""/>
        <dsp:cNvSpPr/>
      </dsp:nvSpPr>
      <dsp:spPr>
        <a:xfrm>
          <a:off x="1173198" y="4265753"/>
          <a:ext cx="4212801" cy="1053200"/>
        </a:xfrm>
        <a:prstGeom prst="roundRect">
          <a:avLst>
            <a:gd name="adj" fmla="val 10000"/>
          </a:avLst>
        </a:prstGeom>
        <a:solidFill>
          <a:schemeClr val="accent3">
            <a:tint val="40000"/>
            <a:alpha val="90000"/>
            <a:hueOff val="1681324"/>
            <a:satOff val="9829"/>
            <a:lumOff val="1281"/>
            <a:alphaOff val="0"/>
          </a:schemeClr>
        </a:solidFill>
        <a:ln w="12700" cap="flat" cmpd="sng" algn="ctr">
          <a:solidFill>
            <a:schemeClr val="accent3">
              <a:tint val="40000"/>
              <a:alpha val="90000"/>
              <a:hueOff val="1681324"/>
              <a:satOff val="9829"/>
              <a:lumOff val="128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dirty="0"/>
            <a:t>Troubleshooting with Query Store</a:t>
          </a:r>
        </a:p>
      </dsp:txBody>
      <dsp:txXfrm>
        <a:off x="1204045" y="4296600"/>
        <a:ext cx="4151107" cy="991506"/>
      </dsp:txXfrm>
    </dsp:sp>
    <dsp:sp modelId="{51C5E717-F36A-401B-B684-D563E352F8A8}">
      <dsp:nvSpPr>
        <dsp:cNvPr id="0" name=""/>
        <dsp:cNvSpPr/>
      </dsp:nvSpPr>
      <dsp:spPr>
        <a:xfrm>
          <a:off x="5975792" y="292"/>
          <a:ext cx="4212801" cy="1053200"/>
        </a:xfrm>
        <a:prstGeom prst="roundRect">
          <a:avLst>
            <a:gd name="adj" fmla="val 10000"/>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dirty="0"/>
            <a:t>Module 6: Azure SQL Performance Tuning</a:t>
          </a:r>
        </a:p>
      </dsp:txBody>
      <dsp:txXfrm>
        <a:off x="6006639" y="31139"/>
        <a:ext cx="4151107" cy="991506"/>
      </dsp:txXfrm>
    </dsp:sp>
    <dsp:sp modelId="{5F585CCB-F7EA-4B31-8858-DD5052C97165}">
      <dsp:nvSpPr>
        <dsp:cNvPr id="0" name=""/>
        <dsp:cNvSpPr/>
      </dsp:nvSpPr>
      <dsp:spPr>
        <a:xfrm rot="5400000">
          <a:off x="7990037" y="1145647"/>
          <a:ext cx="184310" cy="184310"/>
        </a:xfrm>
        <a:prstGeom prst="rightArrow">
          <a:avLst>
            <a:gd name="adj1" fmla="val 66700"/>
            <a:gd name="adj2" fmla="val 50000"/>
          </a:avLst>
        </a:prstGeom>
        <a:solidFill>
          <a:schemeClr val="accent3">
            <a:hueOff val="1513402"/>
            <a:satOff val="0"/>
            <a:lumOff val="75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6F91476-7CF1-43E4-8A87-9A29A11AF339}">
      <dsp:nvSpPr>
        <dsp:cNvPr id="0" name=""/>
        <dsp:cNvSpPr/>
      </dsp:nvSpPr>
      <dsp:spPr>
        <a:xfrm>
          <a:off x="5975792" y="1422112"/>
          <a:ext cx="4212801" cy="1053200"/>
        </a:xfrm>
        <a:prstGeom prst="roundRect">
          <a:avLst>
            <a:gd name="adj" fmla="val 10000"/>
          </a:avLst>
        </a:prstGeom>
        <a:solidFill>
          <a:schemeClr val="accent3">
            <a:tint val="40000"/>
            <a:alpha val="90000"/>
            <a:hueOff val="2521986"/>
            <a:satOff val="14743"/>
            <a:lumOff val="1922"/>
            <a:alphaOff val="0"/>
          </a:schemeClr>
        </a:solidFill>
        <a:ln w="12700" cap="flat" cmpd="sng" algn="ctr">
          <a:solidFill>
            <a:schemeClr val="accent3">
              <a:tint val="40000"/>
              <a:alpha val="90000"/>
              <a:hueOff val="2521986"/>
              <a:satOff val="14743"/>
              <a:lumOff val="192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dirty="0"/>
            <a:t>Query Performance Insights</a:t>
          </a:r>
        </a:p>
      </dsp:txBody>
      <dsp:txXfrm>
        <a:off x="6006639" y="1452959"/>
        <a:ext cx="4151107" cy="991506"/>
      </dsp:txXfrm>
    </dsp:sp>
    <dsp:sp modelId="{FC7D9924-4F47-484E-960A-9D9EFC5A6C7F}">
      <dsp:nvSpPr>
        <dsp:cNvPr id="0" name=""/>
        <dsp:cNvSpPr/>
      </dsp:nvSpPr>
      <dsp:spPr>
        <a:xfrm rot="5400000">
          <a:off x="7990037" y="2567467"/>
          <a:ext cx="184310" cy="184310"/>
        </a:xfrm>
        <a:prstGeom prst="rightArrow">
          <a:avLst>
            <a:gd name="adj1" fmla="val 66700"/>
            <a:gd name="adj2" fmla="val 50000"/>
          </a:avLst>
        </a:prstGeom>
        <a:solidFill>
          <a:schemeClr val="accent3">
            <a:hueOff val="2017870"/>
            <a:satOff val="0"/>
            <a:lumOff val="10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34444C6-5EFC-46C7-8051-9BB9490B9F5A}">
      <dsp:nvSpPr>
        <dsp:cNvPr id="0" name=""/>
        <dsp:cNvSpPr/>
      </dsp:nvSpPr>
      <dsp:spPr>
        <a:xfrm>
          <a:off x="5975792" y="2843933"/>
          <a:ext cx="4212801" cy="1053200"/>
        </a:xfrm>
        <a:prstGeom prst="roundRect">
          <a:avLst>
            <a:gd name="adj" fmla="val 10000"/>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dirty="0"/>
            <a:t>Automatic Tuning in Azure SQL</a:t>
          </a:r>
        </a:p>
      </dsp:txBody>
      <dsp:txXfrm>
        <a:off x="6006639" y="2874780"/>
        <a:ext cx="4151107" cy="991506"/>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A22D87-72E9-4308-96F6-375841B6866D}" type="datetimeFigureOut">
              <a:rPr lang="en-US"/>
              <a:t>12/1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405CA6-A7A9-4E0F-8672-28CF28CC7700}" type="slidenum">
              <a:rPr lang="en-US"/>
              <a:t>‹#›</a:t>
            </a:fld>
            <a:endParaRPr lang="en-US"/>
          </a:p>
        </p:txBody>
      </p:sp>
    </p:spTree>
    <p:extLst>
      <p:ext uri="{BB962C8B-B14F-4D97-AF65-F5344CB8AC3E}">
        <p14:creationId xmlns:p14="http://schemas.microsoft.com/office/powerpoint/2010/main" val="71150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0079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9/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5100718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9/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716758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9/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7366313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9/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7509320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9/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9855196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9/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29274376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9/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10</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12/19/2022</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9348239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954721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8966137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738232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897900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322196"/>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474419319"/>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936080104"/>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40653195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29583854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662119602"/>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1633211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1187363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04864220"/>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5828794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0384930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2921756"/>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11550345"/>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87331544"/>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29172054"/>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9293748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504334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5252402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70208671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71770609"/>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4782523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1761723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22121033"/>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87188484"/>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22866305"/>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129828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01143128"/>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8357346"/>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347915"/>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41107066"/>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810184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6700192"/>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72740709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680095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248789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933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36256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658739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25966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633549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36934739"/>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6847808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18428034"/>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9565536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51773399"/>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84087283"/>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6544220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4465152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9613525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8219919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989919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36269527"/>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558139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546582586"/>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279162056"/>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37421251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535251947"/>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205227860"/>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0527151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7590263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6123857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5715562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11526312"/>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22033337"/>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10160959"/>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11147171"/>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4529131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95223535"/>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7289460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33223442"/>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7336373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1417575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7928859"/>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8161626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6706214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5321970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36453194"/>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45650783"/>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44467923"/>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901676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6470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6103831"/>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8783253"/>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415928332"/>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7583457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79217521"/>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9096864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96775165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8_Title Slide 3">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0" y="680536"/>
            <a:ext cx="12206593" cy="3642658"/>
          </a:xfrm>
          <a:prstGeom prst="rect">
            <a:avLst/>
          </a:prstGeom>
          <a:solidFill>
            <a:schemeClr val="accent5">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4"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311835" y="738714"/>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311834" y="2530089"/>
            <a:ext cx="5042927" cy="1793105"/>
          </a:xfrm>
          <a:noFill/>
        </p:spPr>
        <p:txBody>
          <a:bodyPr lIns="149216" tIns="111912" rIns="149216" bIns="111912">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7400072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tags" Target="../tags/tag4.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9" Type="http://schemas.openxmlformats.org/officeDocument/2006/relationships/slideLayout" Target="../slideLayouts/slideLayout86.xml"/><Relationship Id="rId21" Type="http://schemas.openxmlformats.org/officeDocument/2006/relationships/slideLayout" Target="../slideLayouts/slideLayout68.xml"/><Relationship Id="rId34" Type="http://schemas.openxmlformats.org/officeDocument/2006/relationships/slideLayout" Target="../slideLayouts/slideLayout81.xml"/><Relationship Id="rId42" Type="http://schemas.openxmlformats.org/officeDocument/2006/relationships/slideLayout" Target="../slideLayouts/slideLayout89.xml"/><Relationship Id="rId47" Type="http://schemas.openxmlformats.org/officeDocument/2006/relationships/tags" Target="../tags/tag6.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9" Type="http://schemas.openxmlformats.org/officeDocument/2006/relationships/slideLayout" Target="../slideLayouts/slideLayout76.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40" Type="http://schemas.openxmlformats.org/officeDocument/2006/relationships/slideLayout" Target="../slideLayouts/slideLayout87.xml"/><Relationship Id="rId45" Type="http://schemas.openxmlformats.org/officeDocument/2006/relationships/theme" Target="../theme/theme2.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49" Type="http://schemas.openxmlformats.org/officeDocument/2006/relationships/image" Target="../media/image1.emf"/><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4" Type="http://schemas.openxmlformats.org/officeDocument/2006/relationships/slideLayout" Target="../slideLayouts/slideLayout91.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 Id="rId43" Type="http://schemas.openxmlformats.org/officeDocument/2006/relationships/slideLayout" Target="../slideLayouts/slideLayout90.xml"/><Relationship Id="rId48" Type="http://schemas.openxmlformats.org/officeDocument/2006/relationships/tags" Target="../tags/tag7.xml"/><Relationship Id="rId8" Type="http://schemas.openxmlformats.org/officeDocument/2006/relationships/slideLayout" Target="../slideLayouts/slideLayout55.xml"/><Relationship Id="rId3" Type="http://schemas.openxmlformats.org/officeDocument/2006/relationships/slideLayout" Target="../slideLayouts/slideLayout50.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slideLayout" Target="../slideLayouts/slideLayout85.xml"/><Relationship Id="rId46" Type="http://schemas.openxmlformats.org/officeDocument/2006/relationships/tags" Target="../tags/tag5.xml"/><Relationship Id="rId20" Type="http://schemas.openxmlformats.org/officeDocument/2006/relationships/slideLayout" Target="../slideLayouts/slideLayout67.xml"/><Relationship Id="rId41" Type="http://schemas.openxmlformats.org/officeDocument/2006/relationships/slideLayout" Target="../slideLayouts/slideLayout88.xml"/><Relationship Id="rId1" Type="http://schemas.openxmlformats.org/officeDocument/2006/relationships/slideLayout" Target="../slideLayouts/slideLayout48.xml"/><Relationship Id="rId6" Type="http://schemas.openxmlformats.org/officeDocument/2006/relationships/slideLayout" Target="../slideLayouts/slideLayout53.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93.xml"/><Relationship Id="rId1"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2"/>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0049089"/>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 id="2147483854" r:id="rId43"/>
    <p:sldLayoutId id="2147483855" r:id="rId44"/>
    <p:sldLayoutId id="2147483856" r:id="rId45"/>
    <p:sldLayoutId id="2147483857" r:id="rId46"/>
    <p:sldLayoutId id="2147483903" r:id="rId47"/>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70819696"/>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 id="2147483876" r:id="rId18"/>
    <p:sldLayoutId id="2147483877" r:id="rId19"/>
    <p:sldLayoutId id="2147483878" r:id="rId20"/>
    <p:sldLayoutId id="2147483879" r:id="rId21"/>
    <p:sldLayoutId id="2147483880" r:id="rId22"/>
    <p:sldLayoutId id="2147483881" r:id="rId23"/>
    <p:sldLayoutId id="2147483882" r:id="rId24"/>
    <p:sldLayoutId id="2147483883" r:id="rId25"/>
    <p:sldLayoutId id="2147483884" r:id="rId26"/>
    <p:sldLayoutId id="2147483885" r:id="rId27"/>
    <p:sldLayoutId id="2147483886" r:id="rId28"/>
    <p:sldLayoutId id="2147483887" r:id="rId29"/>
    <p:sldLayoutId id="2147483888" r:id="rId30"/>
    <p:sldLayoutId id="2147483889" r:id="rId31"/>
    <p:sldLayoutId id="2147483890" r:id="rId32"/>
    <p:sldLayoutId id="2147483891" r:id="rId33"/>
    <p:sldLayoutId id="2147483892" r:id="rId34"/>
    <p:sldLayoutId id="2147483893" r:id="rId35"/>
    <p:sldLayoutId id="2147483894" r:id="rId36"/>
    <p:sldLayoutId id="2147483895" r:id="rId37"/>
    <p:sldLayoutId id="2147483896" r:id="rId38"/>
    <p:sldLayoutId id="2147483897" r:id="rId39"/>
    <p:sldLayoutId id="2147483898" r:id="rId40"/>
    <p:sldLayoutId id="2147483899" r:id="rId41"/>
    <p:sldLayoutId id="2147483900" r:id="rId42"/>
    <p:sldLayoutId id="2147483901" r:id="rId43"/>
    <p:sldLayoutId id="2147483902"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Tree>
    <p:extLst>
      <p:ext uri="{BB962C8B-B14F-4D97-AF65-F5344CB8AC3E}">
        <p14:creationId xmlns:p14="http://schemas.microsoft.com/office/powerpoint/2010/main" val="4287712914"/>
      </p:ext>
    </p:extLst>
  </p:cSld>
  <p:clrMap bg1="lt1" tx1="dk1" bg2="lt2" tx2="dk2" accent1="accent1" accent2="accent2" accent3="accent3" accent4="accent4" accent5="accent5" accent6="accent6" hlink="hlink" folHlink="folHlink"/>
  <p:sldLayoutIdLst>
    <p:sldLayoutId id="2147483905" r:id="rId1"/>
    <p:sldLayoutId id="2147483906" r:id="rId2"/>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3.xml"/><Relationship Id="rId1" Type="http://schemas.openxmlformats.org/officeDocument/2006/relationships/tags" Target="../tags/tag15.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jpg"/><Relationship Id="rId7"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9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png"/></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14.xml"/><Relationship Id="rId7" Type="http://schemas.openxmlformats.org/officeDocument/2006/relationships/diagramQuickStyle" Target="../diagrams/quickStyle1.xml"/><Relationship Id="rId2" Type="http://schemas.openxmlformats.org/officeDocument/2006/relationships/customXml" Target="../../customXml/item7.xml"/><Relationship Id="rId1" Type="http://schemas.openxmlformats.org/officeDocument/2006/relationships/tags" Target="../tags/tag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notesSlide" Target="../notesSlides/notesSlide2.xml"/><Relationship Id="rId9" Type="http://schemas.microsoft.com/office/2007/relationships/diagramDrawing" Target="../diagrams/drawing1.xml"/></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slideLayout" Target="../slideLayouts/slideLayout14.xml"/><Relationship Id="rId7" Type="http://schemas.openxmlformats.org/officeDocument/2006/relationships/diagramQuickStyle" Target="../diagrams/quickStyle2.xml"/><Relationship Id="rId2" Type="http://schemas.openxmlformats.org/officeDocument/2006/relationships/customXml" Target="../../customXml/item19.xml"/><Relationship Id="rId1" Type="http://schemas.openxmlformats.org/officeDocument/2006/relationships/tags" Target="../tags/tag9.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notesSlide" Target="../notesSlides/notesSlide3.xml"/><Relationship Id="rId9" Type="http://schemas.microsoft.com/office/2007/relationships/diagramDrawing" Target="../diagrams/drawing2.xml"/></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slideLayout" Target="../slideLayouts/slideLayout14.xml"/><Relationship Id="rId7" Type="http://schemas.openxmlformats.org/officeDocument/2006/relationships/diagramQuickStyle" Target="../diagrams/quickStyle3.xml"/><Relationship Id="rId2" Type="http://schemas.openxmlformats.org/officeDocument/2006/relationships/customXml" Target="../../customXml/item18.xml"/><Relationship Id="rId1" Type="http://schemas.openxmlformats.org/officeDocument/2006/relationships/tags" Target="../tags/tag10.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notesSlide" Target="../notesSlides/notesSlide4.xml"/><Relationship Id="rId9" Type="http://schemas.microsoft.com/office/2007/relationships/diagramDrawing" Target="../diagrams/drawing3.xml"/></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slideLayout" Target="../slideLayouts/slideLayout14.xml"/><Relationship Id="rId7" Type="http://schemas.openxmlformats.org/officeDocument/2006/relationships/diagramQuickStyle" Target="../diagrams/quickStyle4.xml"/><Relationship Id="rId2" Type="http://schemas.openxmlformats.org/officeDocument/2006/relationships/customXml" Target="../../customXml/item16.xml"/><Relationship Id="rId1" Type="http://schemas.openxmlformats.org/officeDocument/2006/relationships/tags" Target="../tags/tag11.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notesSlide" Target="../notesSlides/notesSlide5.xml"/><Relationship Id="rId9" Type="http://schemas.microsoft.com/office/2007/relationships/diagramDrawing" Target="../diagrams/drawing4.xml"/></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slideLayout" Target="../slideLayouts/slideLayout14.xml"/><Relationship Id="rId7" Type="http://schemas.openxmlformats.org/officeDocument/2006/relationships/diagramQuickStyle" Target="../diagrams/quickStyle5.xml"/><Relationship Id="rId2" Type="http://schemas.openxmlformats.org/officeDocument/2006/relationships/customXml" Target="../../customXml/item10.xml"/><Relationship Id="rId1" Type="http://schemas.openxmlformats.org/officeDocument/2006/relationships/tags" Target="../tags/tag12.x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notesSlide" Target="../notesSlides/notesSlide6.xml"/><Relationship Id="rId9" Type="http://schemas.microsoft.com/office/2007/relationships/diagramDrawing" Target="../diagrams/drawing5.xml"/></Relationships>
</file>

<file path=ppt/slides/_rels/slide8.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slideLayout" Target="../slideLayouts/slideLayout14.xml"/><Relationship Id="rId7" Type="http://schemas.openxmlformats.org/officeDocument/2006/relationships/diagramQuickStyle" Target="../diagrams/quickStyle6.xml"/><Relationship Id="rId2" Type="http://schemas.openxmlformats.org/officeDocument/2006/relationships/customXml" Target="../../customXml/item3.xml"/><Relationship Id="rId1" Type="http://schemas.openxmlformats.org/officeDocument/2006/relationships/tags" Target="../tags/tag13.x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notesSlide" Target="../notesSlides/notesSlide7.xml"/><Relationship Id="rId9" Type="http://schemas.microsoft.com/office/2007/relationships/diagramDrawing" Target="../diagrams/drawing6.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14.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298485" y="1642406"/>
            <a:ext cx="5199473" cy="4616648"/>
          </a:xfrm>
        </p:spPr>
        <p:txBody>
          <a:bodyPr/>
          <a:lstStyle/>
          <a:p>
            <a:pPr algn="ctr"/>
            <a:r>
              <a:rPr lang="en-US" sz="3600" dirty="0"/>
              <a:t>Activate Azure SQL Performance Tuning and Optimization</a:t>
            </a:r>
            <a:br>
              <a:rPr lang="en-US" sz="3600" dirty="0"/>
            </a:br>
            <a:br>
              <a:rPr lang="en-US" sz="3600" dirty="0"/>
            </a:br>
            <a:br>
              <a:rPr lang="en-US" sz="3600" dirty="0"/>
            </a:br>
            <a:r>
              <a:rPr lang="en-US" sz="3600" dirty="0"/>
              <a:t>Ceridian</a:t>
            </a:r>
            <a:br>
              <a:rPr lang="en-US" sz="3600" dirty="0"/>
            </a:br>
            <a:r>
              <a:rPr lang="en-US" sz="3600" dirty="0"/>
              <a:t>January 16</a:t>
            </a:r>
            <a:r>
              <a:rPr lang="en-US" sz="3600" baseline="30000" dirty="0"/>
              <a:t>th</a:t>
            </a:r>
            <a:r>
              <a:rPr lang="en-US" sz="3600" dirty="0"/>
              <a:t> – 19</a:t>
            </a:r>
            <a:r>
              <a:rPr lang="en-US" sz="3600" baseline="30000" dirty="0"/>
              <a:t>th</a:t>
            </a:r>
            <a:br>
              <a:rPr lang="en-US" sz="3600" baseline="30000" dirty="0"/>
            </a:br>
            <a:r>
              <a:rPr lang="en-US" sz="3600" baseline="30000" dirty="0"/>
              <a:t>9:00am – 5:00pm EST</a:t>
            </a:r>
            <a:br>
              <a:rPr lang="en-US" baseline="30000" dirty="0"/>
            </a:br>
            <a:br>
              <a:rPr lang="en-US" dirty="0"/>
            </a:br>
            <a:endParaRPr lang="en-US" dirty="0"/>
          </a:p>
        </p:txBody>
      </p:sp>
    </p:spTree>
    <p:extLst>
      <p:ext uri="{BB962C8B-B14F-4D97-AF65-F5344CB8AC3E}">
        <p14:creationId xmlns:p14="http://schemas.microsoft.com/office/powerpoint/2010/main" val="412570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name="HIDDEN - Slide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Tree>
    <p:custDataLst>
      <p:tags r:id="rId1"/>
    </p:custDataLst>
    <p:extLst>
      <p:ext uri="{BB962C8B-B14F-4D97-AF65-F5344CB8AC3E}">
        <p14:creationId xmlns:p14="http://schemas.microsoft.com/office/powerpoint/2010/main" val="2260953147"/>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58F322D1-571A-45D1-A3A3-EE3DD7FF3C6A}"/>
              </a:ext>
            </a:extLst>
          </p:cNvPr>
          <p:cNvSpPr txBox="1"/>
          <p:nvPr/>
        </p:nvSpPr>
        <p:spPr>
          <a:xfrm>
            <a:off x="3875501" y="694671"/>
            <a:ext cx="7974384"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loud Solution Architect - Engineer (Data &amp; A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Regional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9524" y="950497"/>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6" name="Picture 5" descr="Image result for mvp reconnect logo">
            <a:extLst>
              <a:ext uri="{FF2B5EF4-FFF2-40B4-BE49-F238E27FC236}">
                <a16:creationId xmlns:a16="http://schemas.microsoft.com/office/drawing/2014/main" id="{AC96F93F-0C0B-4E9F-9020-F3A82BC9008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6933" y="5091736"/>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857AFFFB-2FF6-4E89-98AF-192F25EAB5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36829" y="4656579"/>
            <a:ext cx="1576068" cy="1576068"/>
          </a:xfrm>
          <a:prstGeom prst="rect">
            <a:avLst/>
          </a:prstGeom>
        </p:spPr>
      </p:pic>
      <p:pic>
        <p:nvPicPr>
          <p:cNvPr id="8" name="Picture 7">
            <a:extLst>
              <a:ext uri="{FF2B5EF4-FFF2-40B4-BE49-F238E27FC236}">
                <a16:creationId xmlns:a16="http://schemas.microsoft.com/office/drawing/2014/main" id="{BA556E9C-C257-46F8-806F-23A52BB5A3D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34281" y="4656579"/>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CD6C68E0-AA3D-4089-A9D8-76DB3F1D138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31733" y="4656579"/>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Microsoft Certified: Power BI Data Analyst Associate">
            <a:extLst>
              <a:ext uri="{FF2B5EF4-FFF2-40B4-BE49-F238E27FC236}">
                <a16:creationId xmlns:a16="http://schemas.microsoft.com/office/drawing/2014/main" id="{CACC3E8C-1939-7F31-01C9-833F8C285B4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229184" y="4634263"/>
            <a:ext cx="1620701" cy="162070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Microsoft Certified Trainer 2023-2024">
            <a:extLst>
              <a:ext uri="{FF2B5EF4-FFF2-40B4-BE49-F238E27FC236}">
                <a16:creationId xmlns:a16="http://schemas.microsoft.com/office/drawing/2014/main" id="{001AD76B-2882-3871-AEE1-C744F1B35E3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39377" y="4656579"/>
            <a:ext cx="1576068" cy="1576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835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dirty="0"/>
              <a:t>Engagement Overview</a:t>
            </a:r>
          </a:p>
        </p:txBody>
      </p:sp>
      <p:graphicFrame>
        <p:nvGraphicFramePr>
          <p:cNvPr id="3" name="Diagram 2" descr="Agenda">
            <a:extLst>
              <a:ext uri="{FF2B5EF4-FFF2-40B4-BE49-F238E27FC236}">
                <a16:creationId xmlns:a16="http://schemas.microsoft.com/office/drawing/2014/main" id="{FBF40CF4-47CE-0F5F-3CC0-806710CCCE01}"/>
              </a:ext>
            </a:extLst>
          </p:cNvPr>
          <p:cNvGraphicFramePr/>
          <p:nvPr>
            <p:extLst>
              <p:ext uri="{D42A27DB-BD31-4B8C-83A1-F6EECF244321}">
                <p14:modId xmlns:p14="http://schemas.microsoft.com/office/powerpoint/2010/main" val="3709039920"/>
              </p:ext>
            </p:extLst>
          </p:nvPr>
        </p:nvGraphicFramePr>
        <p:xfrm>
          <a:off x="415105" y="1107770"/>
          <a:ext cx="11361792" cy="531924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1397566585"/>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dirty="0"/>
              <a:t>Engagement Overview</a:t>
            </a:r>
          </a:p>
        </p:txBody>
      </p:sp>
      <p:graphicFrame>
        <p:nvGraphicFramePr>
          <p:cNvPr id="3" name="Diagram 2" descr="Agenda">
            <a:extLst>
              <a:ext uri="{FF2B5EF4-FFF2-40B4-BE49-F238E27FC236}">
                <a16:creationId xmlns:a16="http://schemas.microsoft.com/office/drawing/2014/main" id="{FBF40CF4-47CE-0F5F-3CC0-806710CCCE01}"/>
              </a:ext>
            </a:extLst>
          </p:cNvPr>
          <p:cNvGraphicFramePr/>
          <p:nvPr>
            <p:extLst>
              <p:ext uri="{D42A27DB-BD31-4B8C-83A1-F6EECF244321}">
                <p14:modId xmlns:p14="http://schemas.microsoft.com/office/powerpoint/2010/main" val="2555759500"/>
              </p:ext>
            </p:extLst>
          </p:nvPr>
        </p:nvGraphicFramePr>
        <p:xfrm>
          <a:off x="415105" y="1107770"/>
          <a:ext cx="11361792" cy="531924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3216427656"/>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dirty="0"/>
              <a:t>Scoping Questions?</a:t>
            </a:r>
          </a:p>
        </p:txBody>
      </p:sp>
      <p:graphicFrame>
        <p:nvGraphicFramePr>
          <p:cNvPr id="3" name="Diagram 2" descr="Agenda">
            <a:extLst>
              <a:ext uri="{FF2B5EF4-FFF2-40B4-BE49-F238E27FC236}">
                <a16:creationId xmlns:a16="http://schemas.microsoft.com/office/drawing/2014/main" id="{FBF40CF4-47CE-0F5F-3CC0-806710CCCE01}"/>
              </a:ext>
            </a:extLst>
          </p:cNvPr>
          <p:cNvGraphicFramePr/>
          <p:nvPr>
            <p:extLst>
              <p:ext uri="{D42A27DB-BD31-4B8C-83A1-F6EECF244321}">
                <p14:modId xmlns:p14="http://schemas.microsoft.com/office/powerpoint/2010/main" val="3597274499"/>
              </p:ext>
            </p:extLst>
          </p:nvPr>
        </p:nvGraphicFramePr>
        <p:xfrm>
          <a:off x="415105" y="1107770"/>
          <a:ext cx="11361792" cy="531924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945742103"/>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a:t>Agenda Day 1</a:t>
            </a:r>
          </a:p>
        </p:txBody>
      </p:sp>
      <p:graphicFrame>
        <p:nvGraphicFramePr>
          <p:cNvPr id="7" name="Diagram 6" descr="Agenda">
            <a:extLst>
              <a:ext uri="{FF2B5EF4-FFF2-40B4-BE49-F238E27FC236}">
                <a16:creationId xmlns:a16="http://schemas.microsoft.com/office/drawing/2014/main" id="{ADC8DEB8-E906-4D87-8BB2-77A102128648}"/>
              </a:ext>
            </a:extLst>
          </p:cNvPr>
          <p:cNvGraphicFramePr/>
          <p:nvPr>
            <p:extLst>
              <p:ext uri="{D42A27DB-BD31-4B8C-83A1-F6EECF244321}">
                <p14:modId xmlns:p14="http://schemas.microsoft.com/office/powerpoint/2010/main" val="3521558563"/>
              </p:ext>
            </p:extLst>
          </p:nvPr>
        </p:nvGraphicFramePr>
        <p:xfrm>
          <a:off x="415105" y="1107770"/>
          <a:ext cx="11361792" cy="531924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2854869479"/>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dirty="0"/>
              <a:t>Agenda Day 2 </a:t>
            </a:r>
          </a:p>
        </p:txBody>
      </p:sp>
      <p:graphicFrame>
        <p:nvGraphicFramePr>
          <p:cNvPr id="7" name="Diagram 6" descr="Agenda">
            <a:extLst>
              <a:ext uri="{FF2B5EF4-FFF2-40B4-BE49-F238E27FC236}">
                <a16:creationId xmlns:a16="http://schemas.microsoft.com/office/drawing/2014/main" id="{ADC8DEB8-E906-4D87-8BB2-77A102128648}"/>
              </a:ext>
            </a:extLst>
          </p:cNvPr>
          <p:cNvGraphicFramePr/>
          <p:nvPr>
            <p:extLst>
              <p:ext uri="{D42A27DB-BD31-4B8C-83A1-F6EECF244321}">
                <p14:modId xmlns:p14="http://schemas.microsoft.com/office/powerpoint/2010/main" val="1834906510"/>
              </p:ext>
            </p:extLst>
          </p:nvPr>
        </p:nvGraphicFramePr>
        <p:xfrm>
          <a:off x="415105" y="1107770"/>
          <a:ext cx="11361792" cy="531924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45058819"/>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dirty="0"/>
              <a:t>Agenda Day 3</a:t>
            </a:r>
          </a:p>
        </p:txBody>
      </p:sp>
      <p:graphicFrame>
        <p:nvGraphicFramePr>
          <p:cNvPr id="7" name="Diagram 6" descr="Agenda">
            <a:extLst>
              <a:ext uri="{FF2B5EF4-FFF2-40B4-BE49-F238E27FC236}">
                <a16:creationId xmlns:a16="http://schemas.microsoft.com/office/drawing/2014/main" id="{ADC8DEB8-E906-4D87-8BB2-77A102128648}"/>
              </a:ext>
            </a:extLst>
          </p:cNvPr>
          <p:cNvGraphicFramePr/>
          <p:nvPr>
            <p:extLst>
              <p:ext uri="{D42A27DB-BD31-4B8C-83A1-F6EECF244321}">
                <p14:modId xmlns:p14="http://schemas.microsoft.com/office/powerpoint/2010/main" val="4193369752"/>
              </p:ext>
            </p:extLst>
          </p:nvPr>
        </p:nvGraphicFramePr>
        <p:xfrm>
          <a:off x="415105" y="1107770"/>
          <a:ext cx="11361792" cy="531924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245311848"/>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lt;/Name&gt;&lt;FirstSlideIndex&gt;3&lt;/FirstSlideIndex&gt;&lt;SlidesCount&gt;8&lt;/SlidesCount&gt;&lt;SlideGuids&gt;&lt;guid&gt;af7d8e52-4972-45ba-8569-a3766e0e7e1f&lt;/guid&gt;&lt;guid&gt;5f31ce95-1040-41c6-ba78-10a9b2ed9970&lt;/guid&gt;&lt;guid&gt;3ccd3973-1ec5-46fa-8710-ff514ce2a1f3&lt;/guid&gt;&lt;guid&gt;f412d8f2-7d2e-48c9-b4ca-bb6b11824760&lt;/guid&gt;&lt;guid&gt;2cc5ab1a-c91d-466d-bfef-8fb23e8e4a12&lt;/guid&gt;&lt;guid&gt;ccca499f-6031-4249-9be5-05f0778e93f9&lt;/guid&gt;&lt;guid&gt;c328151a-ce6b-47fd-89fa-845a0dd837d1&lt;/guid&gt;&lt;guid&gt;b5e06058-c39f-48cf-8ba4-c1a5f9f101ce&lt;/guid&gt;&lt;/SlideGuids&gt;&lt;/NativeSection&gt;&lt;NativeSection&gt;&lt;Name&gt;Virtual Introduction&lt;/Name&gt;&lt;FirstSlideIndex&gt;11&lt;/FirstSlideIndex&gt;&lt;SlidesCount&gt;10&lt;/SlidesCount&gt;&lt;SlideGuids&gt;&lt;guid&gt;b32f4005-11ee-4571-9771-859f63e08f74&lt;/guid&gt;&lt;guid&gt;1d0138ab-c9d0-4ed5-8dd2-88379672ce17&lt;/guid&gt;&lt;guid&gt;66aa6373-16a3-4991-89f2-566a2e97143a&lt;/guid&gt;&lt;guid&gt;e320cb71-3b73-4729-84f4-fd02963afdc5&lt;/guid&gt;&lt;guid&gt;2f8245e8-e231-4447-82d8-d97597d20484&lt;/guid&gt;&lt;guid&gt;fc031707-9e97-4ccc-ae34-c0753b7f2591&lt;/guid&gt;&lt;guid&gt;d67d861a-7109-424f-8337-d603a38d76f4&lt;/guid&gt;&lt;guid&gt;e85356c6-ef03-4ff9-8bf8-9b6a00b74c41&lt;/guid&gt;&lt;guid&gt;9ebde364-126f-4efc-bd5c-42053664fe49&lt;/guid&gt;&lt;guid&gt;337401ad-e0b9-4aa7-afee-b90aede246be&lt;/guid&gt;&lt;/SlideGuids&gt;&lt;/NativeSection&gt;&lt;/ArrayOfNativeSection&gt;"/>
  <p:tag name="MIO_EKGUID" val="b69cf4f4-f545-497c-bb98-ebb41290c03b"/>
  <p:tag name="MIO_UPDATE" val="True"/>
  <p:tag name="MIO_VERSION" val="02.12.2019 14:58:12"/>
  <p:tag name="MIO_DBID" val="12B0C59E-2253-4124-A5E9-470ADF4CB168"/>
  <p:tag name="MIO_LASTDOWNLOADED" val="23.01.2020 21:39:46"/>
  <p:tag name="MIO_OBJECTNAME" val="M00 Introduction"/>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2cc5ab1a-c91d-466d-bfef-8fb23e8e4a12"/>
  <p:tag name="MIO_EKGUID" val="43fd70c7-bbe3-4243-b3fe-38f65823c61e"/>
  <p:tag name="MIO_UPDATE" val="True"/>
  <p:tag name="MIO_VERSION" val="02.12.2019 14:58:10"/>
  <p:tag name="MIO_DBID" val="12b0c59e-2253-4124-a5e9-470adf4cb168"/>
  <p:tag name="MIO_LASTDOWNLOADED" val="24.01.2020 05:39:40"/>
  <p:tag name="MIO_OBJECTNAME" val="Agenda Day 1"/>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2cc5ab1a-c91d-466d-bfef-8fb23e8e4a12"/>
  <p:tag name="MIO_EKGUID" val="43fd70c7-bbe3-4243-b3fe-38f65823c61e"/>
  <p:tag name="MIO_UPDATE" val="True"/>
  <p:tag name="MIO_VERSION" val="02.12.2019 14:58:10"/>
  <p:tag name="MIO_DBID" val="12b0c59e-2253-4124-a5e9-470adf4cb168"/>
  <p:tag name="MIO_LASTDOWNLOADED" val="24.01.2020 05:39:40"/>
  <p:tag name="MIO_OBJECTNAME" val="Agenda Day 1"/>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ccca499f-6031-4249-9be5-05f0778e93f9"/>
  <p:tag name="MIO_EKGUID" val="4353de26-2592-4dae-b07b-ed26aeeb437e"/>
  <p:tag name="MIO_UPDATE" val="True"/>
  <p:tag name="MIO_VERSION" val="02.12.2019 14:58:10"/>
  <p:tag name="MIO_DBID" val="12b0c59e-2253-4124-a5e9-470adf4cb168"/>
  <p:tag name="MIO_LASTDOWNLOADED" val="24.01.2020 05:39:40"/>
  <p:tag name="MIO_OBJECTNAME" val="Agenda Day 2"/>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c328151a-ce6b-47fd-89fa-845a0dd837d1"/>
  <p:tag name="MIO_EKGUID" val="24314d8a-b69e-43cc-accd-5d0fcc7e79dc"/>
  <p:tag name="MIO_UPDATE" val="True"/>
  <p:tag name="MIO_VERSION" val="02.12.2019 14:58:10"/>
  <p:tag name="MIO_DBID" val="12b0c59e-2253-4124-a5e9-470adf4cb168"/>
  <p:tag name="MIO_LASTDOWNLOADED" val="24.01.2020 05:39:40"/>
  <p:tag name="MIO_OBJECTNAME" val="Agenda Day 3"/>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GUID" val="2cc5ab1a-c91d-466d-bfef-8fb23e8e4a12"/>
  <p:tag name="MIO_EKGUID" val="43fd70c7-bbe3-4243-b3fe-38f65823c61e"/>
  <p:tag name="MIO_UPDATE" val="True"/>
  <p:tag name="MIO_VERSION" val="02.12.2019 14:58:10"/>
  <p:tag name="MIO_DBID" val="12b0c59e-2253-4124-a5e9-470adf4cb168"/>
  <p:tag name="MIO_LASTDOWNLOADED" val="24.01.2020 05:39:40"/>
  <p:tag name="MIO_OBJECTNAME" val="Agenda Day 1"/>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2cc5ab1a-c91d-466d-bfef-8fb23e8e4a12"/>
  <p:tag name="MIO_EKGUID" val="43fd70c7-bbe3-4243-b3fe-38f65823c61e"/>
  <p:tag name="MIO_UPDATE" val="True"/>
  <p:tag name="MIO_VERSION" val="02.12.2019 14:58:10"/>
  <p:tag name="MIO_DBID" val="12b0c59e-2253-4124-a5e9-470adf4cb168"/>
  <p:tag name="MIO_LASTDOWNLOADED" val="24.01.2020 05:39:40"/>
  <p:tag name="MIO_OBJECTNAME" val="Agenda Day 1"/>
  <p:tag name="MIO_LASTEDITORNAME" val="Devid Treuling"/>
</p:tagLst>
</file>

<file path=ppt/theme/theme1.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C5255A8D-0C00-4B8A-84C8-2D1E3BE522D5}" vid="{26D3A1E9-793B-4D33-BC1E-F8CD39BEFB35}"/>
    </a:ext>
  </a:extLst>
</a:theme>
</file>

<file path=ppt/theme/theme2.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1_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4.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5.xml><?xml version="1.0" encoding="utf-8"?>
<?mso-contentType ?>
<FormTemplates xmlns="http://schemas.microsoft.com/sharepoint/v3/contenttype/forms">
  <Display>DocumentLibraryForm</Display>
  <Edit>DocumentLibraryForm</Edit>
  <New>DocumentLibraryForm</New>
</FormTemplates>
</file>

<file path=customXml/item16.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6.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B2274A60-1BB2-4B7C-B837-1F17CDA5AFC5}">
  <ds:schemaRefs>
    <ds:schemaRef ds:uri="Strauss.PersonalizationDefinition"/>
  </ds:schemaRefs>
</ds:datastoreItem>
</file>

<file path=customXml/itemProps10.xml><?xml version="1.0" encoding="utf-8"?>
<ds:datastoreItem xmlns:ds="http://schemas.openxmlformats.org/officeDocument/2006/customXml" ds:itemID="{73B6D0A6-C48D-49BD-A439-3788E7E33FC9}">
  <ds:schemaRefs>
    <ds:schemaRef ds:uri="Strauss.PersonalizationDefinition"/>
  </ds:schemaRefs>
</ds:datastoreItem>
</file>

<file path=customXml/itemProps11.xml><?xml version="1.0" encoding="utf-8"?>
<ds:datastoreItem xmlns:ds="http://schemas.openxmlformats.org/officeDocument/2006/customXml" ds:itemID="{38460639-82D3-47DD-9DC7-3EA280D46F3A}">
  <ds:schemaRefs>
    <ds:schemaRef ds:uri="Strauss.PersonalizationDefinition"/>
  </ds:schemaRefs>
</ds:datastoreItem>
</file>

<file path=customXml/itemProps12.xml><?xml version="1.0" encoding="utf-8"?>
<ds:datastoreItem xmlns:ds="http://schemas.openxmlformats.org/officeDocument/2006/customXml" ds:itemID="{E163F619-7E5B-423F-B926-CDF6A9A23149}">
  <ds:schemaRefs>
    <ds:schemaRef ds:uri="Strauss.PersonalizationDefinition"/>
  </ds:schemaRefs>
</ds:datastoreItem>
</file>

<file path=customXml/itemProps13.xml><?xml version="1.0" encoding="utf-8"?>
<ds:datastoreItem xmlns:ds="http://schemas.openxmlformats.org/officeDocument/2006/customXml" ds:itemID="{D959A07B-C49D-428D-B914-113B444FB5E7}">
  <ds:schemaRefs>
    <ds:schemaRef ds:uri="Strauss.PersonalizationDefinition"/>
  </ds:schemaRefs>
</ds:datastoreItem>
</file>

<file path=customXml/itemProps14.xml><?xml version="1.0" encoding="utf-8"?>
<ds:datastoreItem xmlns:ds="http://schemas.openxmlformats.org/officeDocument/2006/customXml" ds:itemID="{27B871C0-5D7E-44C4-9AE5-831CC5C914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5.xml><?xml version="1.0" encoding="utf-8"?>
<ds:datastoreItem xmlns:ds="http://schemas.openxmlformats.org/officeDocument/2006/customXml" ds:itemID="{7D506C23-AA6D-4921-8107-27C3A6154D37}">
  <ds:schemaRefs>
    <ds:schemaRef ds:uri="http://schemas.microsoft.com/sharepoint/v3/contenttype/forms"/>
  </ds:schemaRefs>
</ds:datastoreItem>
</file>

<file path=customXml/itemProps16.xml><?xml version="1.0" encoding="utf-8"?>
<ds:datastoreItem xmlns:ds="http://schemas.openxmlformats.org/officeDocument/2006/customXml" ds:itemID="{DCF8595C-823F-4049-8527-D779865B1FA5}">
  <ds:schemaRefs>
    <ds:schemaRef ds:uri="Strauss.PersonalizationDefinition"/>
  </ds:schemaRefs>
</ds:datastoreItem>
</file>

<file path=customXml/itemProps17.xml><?xml version="1.0" encoding="utf-8"?>
<ds:datastoreItem xmlns:ds="http://schemas.openxmlformats.org/officeDocument/2006/customXml" ds:itemID="{70D7BF37-399B-4024-BD72-871EC75D5873}">
  <ds:schemaRefs>
    <ds:schemaRef ds:uri="Strauss.PersonalizationDefinition"/>
  </ds:schemaRefs>
</ds:datastoreItem>
</file>

<file path=customXml/itemProps18.xml><?xml version="1.0" encoding="utf-8"?>
<ds:datastoreItem xmlns:ds="http://schemas.openxmlformats.org/officeDocument/2006/customXml" ds:itemID="{3E794C28-088D-4677-A868-48FA74EE2633}">
  <ds:schemaRefs>
    <ds:schemaRef ds:uri="Strauss.PersonalizationDefinition"/>
  </ds:schemaRefs>
</ds:datastoreItem>
</file>

<file path=customXml/itemProps19.xml><?xml version="1.0" encoding="utf-8"?>
<ds:datastoreItem xmlns:ds="http://schemas.openxmlformats.org/officeDocument/2006/customXml" ds:itemID="{3F2D84B9-DE53-430C-AE0F-F498A571B76B}">
  <ds:schemaRefs>
    <ds:schemaRef ds:uri="Strauss.PersonalizationDefinition"/>
  </ds:schemaRefs>
</ds:datastoreItem>
</file>

<file path=customXml/itemProps2.xml><?xml version="1.0" encoding="utf-8"?>
<ds:datastoreItem xmlns:ds="http://schemas.openxmlformats.org/officeDocument/2006/customXml" ds:itemID="{DF333A1B-0A9C-4DA8-ADAB-4378B69FDC48}">
  <ds:schemaRefs>
    <ds:schemaRef ds:uri="Strauss.PersonalizationDefinition"/>
  </ds:schemaRefs>
</ds:datastoreItem>
</file>

<file path=customXml/itemProps3.xml><?xml version="1.0" encoding="utf-8"?>
<ds:datastoreItem xmlns:ds="http://schemas.openxmlformats.org/officeDocument/2006/customXml" ds:itemID="{5E06C96E-CC18-4EC4-9562-123609EAD6EA}">
  <ds:schemaRefs>
    <ds:schemaRef ds:uri="Strauss.PersonalizationDefinition"/>
  </ds:schemaRefs>
</ds:datastoreItem>
</file>

<file path=customXml/itemProps4.xml><?xml version="1.0" encoding="utf-8"?>
<ds:datastoreItem xmlns:ds="http://schemas.openxmlformats.org/officeDocument/2006/customXml" ds:itemID="{6F485757-9F3C-4A1E-9E86-E1C1551910BA}">
  <ds:schemaRefs>
    <ds:schemaRef ds:uri="Strauss.PersonalizationDefinition"/>
  </ds:schemaRefs>
</ds:datastoreItem>
</file>

<file path=customXml/itemProps5.xml><?xml version="1.0" encoding="utf-8"?>
<ds:datastoreItem xmlns:ds="http://schemas.openxmlformats.org/officeDocument/2006/customXml" ds:itemID="{C412598E-BF43-4F55-B1FB-DC8EF944E888}">
  <ds:schemaRefs>
    <ds:schemaRef ds:uri="http://schemas.microsoft.com/office/2006/documentManagement/types"/>
    <ds:schemaRef ds:uri="http://schemas.openxmlformats.org/package/2006/metadata/core-properties"/>
    <ds:schemaRef ds:uri="http://purl.org/dc/terms/"/>
    <ds:schemaRef ds:uri="http://schemas.microsoft.com/office/infopath/2007/PartnerControls"/>
    <ds:schemaRef ds:uri="http://purl.org/dc/dcmitype/"/>
    <ds:schemaRef ds:uri="http://purl.org/dc/elements/1.1/"/>
    <ds:schemaRef ds:uri="b66b6bb9-0c3b-4baf-b7e0-24038b18f231"/>
    <ds:schemaRef ds:uri="http://schemas.microsoft.com/office/2006/metadata/properties"/>
    <ds:schemaRef ds:uri="0b15a96f-9efd-4f0c-b199-c53b2a01cb9d"/>
    <ds:schemaRef ds:uri="http://schemas.microsoft.com/sharepoint/v3"/>
    <ds:schemaRef ds:uri="http://www.w3.org/XML/1998/namespace"/>
  </ds:schemaRefs>
</ds:datastoreItem>
</file>

<file path=customXml/itemProps6.xml><?xml version="1.0" encoding="utf-8"?>
<ds:datastoreItem xmlns:ds="http://schemas.openxmlformats.org/officeDocument/2006/customXml" ds:itemID="{D90DEB8C-C00E-4B1C-B45B-737A9292CE09}">
  <ds:schemaRefs>
    <ds:schemaRef ds:uri="Strauss.PersonalizationDefinition"/>
  </ds:schemaRefs>
</ds:datastoreItem>
</file>

<file path=customXml/itemProps7.xml><?xml version="1.0" encoding="utf-8"?>
<ds:datastoreItem xmlns:ds="http://schemas.openxmlformats.org/officeDocument/2006/customXml" ds:itemID="{5288D834-DB30-4721-8C65-DF36F74AA0B8}">
  <ds:schemaRefs>
    <ds:schemaRef ds:uri="Strauss.PersonalizationDefinition"/>
  </ds:schemaRefs>
</ds:datastoreItem>
</file>

<file path=customXml/itemProps8.xml><?xml version="1.0" encoding="utf-8"?>
<ds:datastoreItem xmlns:ds="http://schemas.openxmlformats.org/officeDocument/2006/customXml" ds:itemID="{AF760E59-97AE-4538-B6A6-5DAE18A6CA97}">
  <ds:schemaRefs>
    <ds:schemaRef ds:uri="Strauss.PersonalizationDefinition"/>
  </ds:schemaRefs>
</ds:datastoreItem>
</file>

<file path=customXml/itemProps9.xml><?xml version="1.0" encoding="utf-8"?>
<ds:datastoreItem xmlns:ds="http://schemas.openxmlformats.org/officeDocument/2006/customXml" ds:itemID="{6B2F7B94-2B12-4A65-964B-9372138E0DC1}">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621</TotalTime>
  <Words>362</Words>
  <Application>Microsoft Office PowerPoint</Application>
  <PresentationFormat>Widescreen</PresentationFormat>
  <Paragraphs>77</Paragraphs>
  <Slides>10</Slides>
  <Notes>9</Notes>
  <HiddenSlides>0</HiddenSlides>
  <MMClips>0</MMClips>
  <ScaleCrop>false</ScaleCrop>
  <HeadingPairs>
    <vt:vector size="6" baseType="variant">
      <vt:variant>
        <vt:lpstr>Fonts Used</vt:lpstr>
      </vt:variant>
      <vt:variant>
        <vt:i4>11</vt:i4>
      </vt:variant>
      <vt:variant>
        <vt:lpstr>Theme</vt:lpstr>
      </vt:variant>
      <vt:variant>
        <vt:i4>3</vt:i4>
      </vt:variant>
      <vt:variant>
        <vt:lpstr>Slide Titles</vt:lpstr>
      </vt:variant>
      <vt:variant>
        <vt:i4>10</vt:i4>
      </vt:variant>
    </vt:vector>
  </HeadingPairs>
  <TitlesOfParts>
    <vt:vector size="24" baseType="lpstr">
      <vt:lpstr>&amp;quot</vt:lpstr>
      <vt:lpstr>Arial</vt:lpstr>
      <vt:lpstr>Calibri</vt:lpstr>
      <vt:lpstr>Calibri Light</vt:lpstr>
      <vt:lpstr>Century Gothic</vt:lpstr>
      <vt:lpstr>Comic Sans MS</vt:lpstr>
      <vt:lpstr>Consolas</vt:lpstr>
      <vt:lpstr>Segoe UI</vt:lpstr>
      <vt:lpstr>Segoe UI Semibold</vt:lpstr>
      <vt:lpstr>Symbol</vt:lpstr>
      <vt:lpstr>Wingdings</vt:lpstr>
      <vt:lpstr>Workshop</vt:lpstr>
      <vt:lpstr>1_Dark Blue</vt:lpstr>
      <vt:lpstr>1_PASS 2013_SpeakerTemplate_Final</vt:lpstr>
      <vt:lpstr>Activate Azure SQL Performance Tuning and Optimization   Ceridian January 16th – 19th 9:00am – 5:00pm EST  </vt:lpstr>
      <vt:lpstr>PowerPoint Presentation</vt:lpstr>
      <vt:lpstr>Engagement Overview</vt:lpstr>
      <vt:lpstr>Engagement Overview</vt:lpstr>
      <vt:lpstr>Scoping Questions?</vt:lpstr>
      <vt:lpstr>Agenda Day 1</vt:lpstr>
      <vt:lpstr>Agenda Day 2 </vt:lpstr>
      <vt:lpstr>Agenda Day 3</vt:lpstr>
      <vt:lpstr>PowerPoint Presentation</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Martijn van Geffen</dc:creator>
  <cp:lastModifiedBy>John Deardurff</cp:lastModifiedBy>
  <cp:revision>39</cp:revision>
  <dcterms:created xsi:type="dcterms:W3CDTF">2019-01-14T09:17:39Z</dcterms:created>
  <dcterms:modified xsi:type="dcterms:W3CDTF">2022-12-19T17:41: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528CD5CA8D1C4FB5CF073D0D91135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devidt@microsoft.com</vt:lpwstr>
  </property>
  <property fmtid="{D5CDD505-2E9C-101B-9397-08002B2CF9AE}" pid="6" name="MSIP_Label_f42aa342-8706-4288-bd11-ebb85995028c_SetDate">
    <vt:lpwstr>2019-09-20T09:39:24.4097518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ActionId">
    <vt:lpwstr>205c0ddf-f806-4af5-8105-3c14fbe37948</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